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lsx" ContentType="application/vnd.openxmlformats-officedocument.spreadsheetml.sheet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ngesInfos/changesInfo1.xml" ContentType="application/vnd.ms-powerpoint.changes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6" Type="http://schemas.openxmlformats.org/officeDocument/2006/relationships/custom-properties" Target="docProps/custom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60" r:id="rId4"/>
  </p:sldMasterIdLst>
  <p:notesMasterIdLst>
    <p:notesMasterId r:id="rId6"/>
  </p:notesMasterIdLst>
  <p:handoutMasterIdLst>
    <p:handoutMasterId r:id="rId7"/>
  </p:handoutMasterIdLst>
  <p:sldIdLst>
    <p:sldId id="2143677563" r:id="rId5"/>
  </p:sldIdLst>
  <p:sldSz cx="6858000" cy="9906000" type="A4"/>
  <p:notesSz cx="6858000" cy="9144000"/>
  <p:defaultTextStyle>
    <a:defPPr>
      <a:defRPr lang="en-US"/>
    </a:defPPr>
    <a:lvl1pPr marL="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1pPr>
    <a:lvl2pPr marL="2286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2pPr>
    <a:lvl3pPr marL="4572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3pPr>
    <a:lvl4pPr marL="6858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4pPr>
    <a:lvl5pPr marL="9144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5pPr>
    <a:lvl6pPr marL="11430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6pPr>
    <a:lvl7pPr marL="13716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7pPr>
    <a:lvl8pPr marL="16002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8pPr>
    <a:lvl9pPr marL="18288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pos="672" userDrawn="1">
          <p15:clr>
            <a:srgbClr val="A4A3A4"/>
          </p15:clr>
        </p15:guide>
        <p15:guide id="3" pos="772" userDrawn="1">
          <p15:clr>
            <a:srgbClr val="A4A3A4"/>
          </p15:clr>
        </p15:guide>
        <p15:guide id="4" pos="2736" userDrawn="1">
          <p15:clr>
            <a:srgbClr val="A4A3A4"/>
          </p15:clr>
        </p15:guide>
        <p15:guide id="5" orient="horz" pos="4896" userDrawn="1">
          <p15:clr>
            <a:srgbClr val="A4A3A4"/>
          </p15:clr>
        </p15:guide>
        <p15:guide id="6" orient="horz" pos="864" userDrawn="1">
          <p15:clr>
            <a:srgbClr val="A4A3A4"/>
          </p15:clr>
        </p15:guide>
        <p15:guide id="7" pos="2472" userDrawn="1">
          <p15:clr>
            <a:srgbClr val="A4A3A4"/>
          </p15:clr>
        </p15:guide>
        <p15:guide id="8" orient="horz" pos="4968" userDrawn="1">
          <p15:clr>
            <a:srgbClr val="A4A3A4"/>
          </p15:clr>
        </p15:guide>
        <p15:guide id="9" orient="horz" pos="5424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Forfatter" initials="A" userId="Author" providerId="AD"/>
  <p188:author id="{BCF3E91C-CA54-E79F-438C-EF0730806C1B}" name="Iben Alvestad" initials="IA" userId="Iben Alvestad" providerId="None"/>
  <p188:author id="{728E3528-BEAB-2D9B-28AB-0C727D48FAC5}" name="Kasper Holm Wejse" initials="KH" userId="S::kawe@epinionglobal.com::fc25daf2-5b46-43b8-9f08-8f7ec6fd957f" providerId="AD"/>
  <p188:author id="{E66E562A-51CD-0ED3-F08D-EC802DC2DD5A}" name="sigrid@gyger.no" initials="si" userId="S::urn:spo:guest#sigrid@gyger.no::" providerId="AD"/>
  <p188:author id="{A7AA1E3A-6083-D683-E382-30C084387A2B}" name="Mathilde Hyldal Eberholst" initials="MHE" userId="S::maeb@epinionglobal.com::bbaad132-6202-4ef7-8157-d226fa2cde1d" providerId="AD"/>
  <p188:author id="{2AD05357-8D65-0B7B-2638-F476165223B1}" name="sigrid" initials="si" userId="S::sigrid_gyger.no#ext#@epinion.onmicrosoft.com::5b71155a-f3d5-44b4-bc58-4034b5854118" providerId="AD"/>
  <p188:author id="{0ECF8460-C95A-05B0-B737-1830C3D2C811}" name="Sigrid Oterholm Hoem" initials="SOH" userId="2b375135a9119842" providerId="Windows Live"/>
  <p188:author id="{D3221379-07BC-7AF3-AA4D-8E83A97C0B93}" name="Iben Alvestad" initials="IA" userId="S::ibal@epinionglobal.com::9217fd71-0e2c-49fb-bf30-ba0fdb437074" providerId="AD"/>
  <p188:author id="{43188683-B9CE-CC20-4655-A52C4EA04CE3}" name="Johanne Bjergskov Larsen" initials="JB" userId="S::jola@epinionglobal.com::baa0bf8d-fbed-4744-8611-22d12c58a514" providerId="AD"/>
  <p188:author id="{C7069693-0C32-6429-7CB6-1D0DB51D16EB}" name="Marc Egholm Mougaard Olsen" initials="MEMO" userId="S::mmo@epinionglobal.com::0a449135-6acf-4869-b01f-9d7b2557350f" providerId="AD"/>
  <p188:author id="{E41C4C95-3362-31CA-D272-D4E0F83D013C}" name="Margrethe Helgebostad" initials="MH" userId="S::margrethe.helgebostad_innovasjonnorge.no#ext#@epinion.dk::c5ab9c96-f798-4f6b-a946-d28125d6b041" providerId="AD"/>
  <p188:author id="{7DBCB2B7-C846-2CCA-CA18-E9937C8E8CB4}" name="Ria Langbehn Jensen" initials="RL" userId="S::rije@epinionglobal.com::2da7ddcc-6e30-42f3-a726-afe9bac3788d" providerId="AD"/>
  <p188:author id="{BAB400FB-FCEA-999E-A84D-1977B909A143}" name="Margrethe Helgebostad" initials="MH" userId="S::Margrethe.Helgebostad@innovasjonnorge.no::72ce5c18-2651-4a27-a482-fa4c83b1277f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8E0000"/>
    <a:srgbClr val="F4A10C"/>
    <a:srgbClr val="000000"/>
    <a:srgbClr val="44546A"/>
    <a:srgbClr val="5B9BD5"/>
    <a:srgbClr val="9DC3E6"/>
    <a:srgbClr val="69A3D8"/>
    <a:srgbClr val="BDD7EE"/>
    <a:srgbClr val="B20000"/>
    <a:srgbClr val="672C9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Ingen typografi, intet git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3C2FFA5D-87B4-456A-9821-1D502468CF0F}" styleName="Tema til typografi 1 - Markering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48" d="100"/>
          <a:sy n="48" d="100"/>
        </p:scale>
        <p:origin x="2144" y="80"/>
      </p:cViewPr>
      <p:guideLst>
        <p:guide pos="672"/>
        <p:guide pos="772"/>
        <p:guide pos="2736"/>
        <p:guide orient="horz" pos="4896"/>
        <p:guide orient="horz" pos="864"/>
        <p:guide pos="2472"/>
        <p:guide orient="horz" pos="4968"/>
        <p:guide orient="horz" pos="5424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13" Type="http://schemas.microsoft.com/office/2018/10/relationships/authors" Target="authors.xml"/><Relationship Id="rId3" Type="http://schemas.openxmlformats.org/officeDocument/2006/relationships/customXml" Target="../customXml/item3.xml"/><Relationship Id="rId7" Type="http://schemas.openxmlformats.org/officeDocument/2006/relationships/handoutMaster" Target="handoutMasters/handoutMaster1.xml"/><Relationship Id="rId12" Type="http://schemas.microsoft.com/office/2016/11/relationships/changesInfo" Target="changesInfos/changesInfo1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notesMaster" Target="notesMasters/notesMaster1.xml"/><Relationship Id="rId11" Type="http://schemas.openxmlformats.org/officeDocument/2006/relationships/tableStyles" Target="tableStyles.xml"/><Relationship Id="rId5" Type="http://schemas.openxmlformats.org/officeDocument/2006/relationships/slide" Target="slides/slide1.xml"/><Relationship Id="rId10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viewProps" Target="view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Margrethe Helgebostad" userId="72ce5c18-2651-4a27-a482-fa4c83b1277f" providerId="ADAL" clId="{DB799BA4-2DFB-465A-BCF1-6E09358BE600}"/>
    <pc:docChg chg="delSld">
      <pc:chgData name="Margrethe Helgebostad" userId="72ce5c18-2651-4a27-a482-fa4c83b1277f" providerId="ADAL" clId="{DB799BA4-2DFB-465A-BCF1-6E09358BE600}" dt="2025-03-13T17:16:41.054" v="7" actId="47"/>
      <pc:docMkLst>
        <pc:docMk/>
      </pc:docMkLst>
      <pc:sldChg chg="del">
        <pc:chgData name="Margrethe Helgebostad" userId="72ce5c18-2651-4a27-a482-fa4c83b1277f" providerId="ADAL" clId="{DB799BA4-2DFB-465A-BCF1-6E09358BE600}" dt="2025-03-13T17:16:32.671" v="0" actId="47"/>
        <pc:sldMkLst>
          <pc:docMk/>
          <pc:sldMk cId="555514946" sldId="2143677557"/>
        </pc:sldMkLst>
      </pc:sldChg>
      <pc:sldChg chg="del">
        <pc:chgData name="Margrethe Helgebostad" userId="72ce5c18-2651-4a27-a482-fa4c83b1277f" providerId="ADAL" clId="{DB799BA4-2DFB-465A-BCF1-6E09358BE600}" dt="2025-03-13T17:16:34.186" v="2" actId="47"/>
        <pc:sldMkLst>
          <pc:docMk/>
          <pc:sldMk cId="2822056558" sldId="2143677561"/>
        </pc:sldMkLst>
      </pc:sldChg>
      <pc:sldChg chg="del">
        <pc:chgData name="Margrethe Helgebostad" userId="72ce5c18-2651-4a27-a482-fa4c83b1277f" providerId="ADAL" clId="{DB799BA4-2DFB-465A-BCF1-6E09358BE600}" dt="2025-03-13T17:16:33.253" v="1" actId="47"/>
        <pc:sldMkLst>
          <pc:docMk/>
          <pc:sldMk cId="3768093272" sldId="2143677562"/>
        </pc:sldMkLst>
      </pc:sldChg>
      <pc:sldChg chg="del">
        <pc:chgData name="Margrethe Helgebostad" userId="72ce5c18-2651-4a27-a482-fa4c83b1277f" providerId="ADAL" clId="{DB799BA4-2DFB-465A-BCF1-6E09358BE600}" dt="2025-03-13T17:16:41.054" v="7" actId="47"/>
        <pc:sldMkLst>
          <pc:docMk/>
          <pc:sldMk cId="1138097018" sldId="2143677564"/>
        </pc:sldMkLst>
      </pc:sldChg>
      <pc:sldChg chg="del">
        <pc:chgData name="Margrethe Helgebostad" userId="72ce5c18-2651-4a27-a482-fa4c83b1277f" providerId="ADAL" clId="{DB799BA4-2DFB-465A-BCF1-6E09358BE600}" dt="2025-03-13T17:16:34.766" v="3" actId="47"/>
        <pc:sldMkLst>
          <pc:docMk/>
          <pc:sldMk cId="3143072091" sldId="2143677565"/>
        </pc:sldMkLst>
      </pc:sldChg>
      <pc:sldChg chg="del">
        <pc:chgData name="Margrethe Helgebostad" userId="72ce5c18-2651-4a27-a482-fa4c83b1277f" providerId="ADAL" clId="{DB799BA4-2DFB-465A-BCF1-6E09358BE600}" dt="2025-03-13T17:16:37.079" v="4" actId="47"/>
        <pc:sldMkLst>
          <pc:docMk/>
          <pc:sldMk cId="1715538850" sldId="2143677566"/>
        </pc:sldMkLst>
      </pc:sldChg>
      <pc:sldChg chg="del">
        <pc:chgData name="Margrethe Helgebostad" userId="72ce5c18-2651-4a27-a482-fa4c83b1277f" providerId="ADAL" clId="{DB799BA4-2DFB-465A-BCF1-6E09358BE600}" dt="2025-03-13T17:16:37.785" v="5" actId="47"/>
        <pc:sldMkLst>
          <pc:docMk/>
          <pc:sldMk cId="2480417649" sldId="2143677567"/>
        </pc:sldMkLst>
      </pc:sldChg>
      <pc:sldChg chg="del">
        <pc:chgData name="Margrethe Helgebostad" userId="72ce5c18-2651-4a27-a482-fa4c83b1277f" providerId="ADAL" clId="{DB799BA4-2DFB-465A-BCF1-6E09358BE600}" dt="2025-03-13T17:16:38.534" v="6" actId="47"/>
        <pc:sldMkLst>
          <pc:docMk/>
          <pc:sldMk cId="878168101" sldId="2143677568"/>
        </pc:sldMkLst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nb-NO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'Ark1'!$B$1</c:f>
              <c:strCache>
                <c:ptCount val="1"/>
                <c:pt idx="0">
                  <c:v>Gjennomsnitt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'Ark1'!$A$2:$A$10</c:f>
              <c:strCache>
                <c:ptCount val="9"/>
                <c:pt idx="0">
                  <c:v>Luksuriøs Velvære</c:v>
                </c:pt>
                <c:pt idx="1">
                  <c:v>Aktiv Natur</c:v>
                </c:pt>
                <c:pt idx="2">
                  <c:v>Komfortabel Avslapping</c:v>
                </c:pt>
                <c:pt idx="3">
                  <c:v>Adventure Light</c:v>
                </c:pt>
                <c:pt idx="4">
                  <c:v>Adventure</c:v>
                </c:pt>
                <c:pt idx="5">
                  <c:v>Kunst &amp; Dannelse</c:v>
                </c:pt>
                <c:pt idx="6">
                  <c:v>Kultur &amp; Natur</c:v>
                </c:pt>
                <c:pt idx="7">
                  <c:v>Stille Natur</c:v>
                </c:pt>
                <c:pt idx="8">
                  <c:v>Sosial Kultur</c:v>
                </c:pt>
              </c:strCache>
            </c:strRef>
          </c:cat>
          <c:val>
            <c:numRef>
              <c:f>'Ark1'!$B$2:$B$10</c:f>
              <c:numCache>
                <c:formatCode>0%</c:formatCode>
                <c:ptCount val="9"/>
                <c:pt idx="0">
                  <c:v>2.8599332751620465E-2</c:v>
                </c:pt>
                <c:pt idx="1">
                  <c:v>1.1241003552723573E-2</c:v>
                </c:pt>
                <c:pt idx="2">
                  <c:v>0.13915628037542019</c:v>
                </c:pt>
                <c:pt idx="3">
                  <c:v>0.14656599381396795</c:v>
                </c:pt>
                <c:pt idx="4">
                  <c:v>0.13012838464355594</c:v>
                </c:pt>
                <c:pt idx="5">
                  <c:v>7.4041562808658076E-2</c:v>
                </c:pt>
                <c:pt idx="6">
                  <c:v>0.1454466471991501</c:v>
                </c:pt>
                <c:pt idx="7">
                  <c:v>0.12678702315449014</c:v>
                </c:pt>
                <c:pt idx="8">
                  <c:v>0.1980337717004136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D2C-4932-A57D-7C7F24495AEB}"/>
            </c:ext>
          </c:extLst>
        </c:ser>
        <c:ser>
          <c:idx val="1"/>
          <c:order val="1"/>
          <c:tx>
            <c:strRef>
              <c:f>'Ark1'!$C$1</c:f>
              <c:strCache>
                <c:ptCount val="1"/>
                <c:pt idx="0">
                  <c:v>Danmark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672C9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2-2D2C-4932-A57D-7C7F24495AEB}"/>
              </c:ext>
            </c:extLst>
          </c:dPt>
          <c:dPt>
            <c:idx val="1"/>
            <c:invertIfNegative val="0"/>
            <c:bubble3D val="0"/>
            <c:spPr>
              <a:solidFill>
                <a:srgbClr val="B2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4-2D2C-4932-A57D-7C7F24495AEB}"/>
              </c:ext>
            </c:extLst>
          </c:dPt>
          <c:dPt>
            <c:idx val="2"/>
            <c:invertIfNegative val="0"/>
            <c:bubble3D val="0"/>
            <c:spPr>
              <a:solidFill>
                <a:srgbClr val="BBD6EE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6-2D2C-4932-A57D-7C7F24495AEB}"/>
              </c:ext>
            </c:extLst>
          </c:dPt>
          <c:dPt>
            <c:idx val="3"/>
            <c:invertIfNegative val="0"/>
            <c:bubble3D val="0"/>
            <c:spPr>
              <a:solidFill>
                <a:srgbClr val="F9C97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8-2D2C-4932-A57D-7C7F24495AEB}"/>
              </c:ext>
            </c:extLst>
          </c:dPt>
          <c:dPt>
            <c:idx val="4"/>
            <c:invertIfNegative val="0"/>
            <c:bubble3D val="0"/>
            <c:spPr>
              <a:solidFill>
                <a:srgbClr val="F4A10C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A-2D2C-4932-A57D-7C7F24495AEB}"/>
              </c:ext>
            </c:extLst>
          </c:dPt>
          <c:dPt>
            <c:idx val="5"/>
            <c:invertIfNegative val="0"/>
            <c:bubble3D val="0"/>
            <c:spPr>
              <a:solidFill>
                <a:srgbClr val="38572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C-2D2C-4932-A57D-7C7F24495AEB}"/>
              </c:ext>
            </c:extLst>
          </c:dPt>
          <c:dPt>
            <c:idx val="6"/>
            <c:invertIfNegative val="0"/>
            <c:bubble3D val="0"/>
            <c:spPr>
              <a:solidFill>
                <a:srgbClr val="548235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E-2D2C-4932-A57D-7C7F24495AEB}"/>
              </c:ext>
            </c:extLst>
          </c:dPt>
          <c:dPt>
            <c:idx val="7"/>
            <c:invertIfNegative val="0"/>
            <c:bubble3D val="0"/>
            <c:spPr>
              <a:solidFill>
                <a:srgbClr val="D87F7F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0-2D2C-4932-A57D-7C7F24495AEB}"/>
              </c:ext>
            </c:extLst>
          </c:dPt>
          <c:dPt>
            <c:idx val="8"/>
            <c:invertIfNegative val="0"/>
            <c:bubble3D val="0"/>
            <c:spPr>
              <a:solidFill>
                <a:srgbClr val="B57707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2-2D2C-4932-A57D-7C7F24495AEB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da-DK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rk1'!$A$2:$A$10</c:f>
              <c:strCache>
                <c:ptCount val="9"/>
                <c:pt idx="0">
                  <c:v>Luksuriøs Velvære</c:v>
                </c:pt>
                <c:pt idx="1">
                  <c:v>Aktiv Natur</c:v>
                </c:pt>
                <c:pt idx="2">
                  <c:v>Komfortabel Avslapping</c:v>
                </c:pt>
                <c:pt idx="3">
                  <c:v>Adventure Light</c:v>
                </c:pt>
                <c:pt idx="4">
                  <c:v>Adventure</c:v>
                </c:pt>
                <c:pt idx="5">
                  <c:v>Kunst &amp; Dannelse</c:v>
                </c:pt>
                <c:pt idx="6">
                  <c:v>Kultur &amp; Natur</c:v>
                </c:pt>
                <c:pt idx="7">
                  <c:v>Stille Natur</c:v>
                </c:pt>
                <c:pt idx="8">
                  <c:v>Sosial Kultur</c:v>
                </c:pt>
              </c:strCache>
            </c:strRef>
          </c:cat>
          <c:val>
            <c:numRef>
              <c:f>'Ark1'!$C$2:$C$10</c:f>
              <c:numCache>
                <c:formatCode>0%</c:formatCode>
                <c:ptCount val="9"/>
                <c:pt idx="0">
                  <c:v>1.568993299974562E-2</c:v>
                </c:pt>
                <c:pt idx="1">
                  <c:v>4.0793825799338615E-2</c:v>
                </c:pt>
                <c:pt idx="2">
                  <c:v>4.138749893986951E-2</c:v>
                </c:pt>
                <c:pt idx="3">
                  <c:v>5.7925536426087776E-2</c:v>
                </c:pt>
                <c:pt idx="4">
                  <c:v>6.216605885845141E-2</c:v>
                </c:pt>
                <c:pt idx="5">
                  <c:v>7.9806632177084225E-2</c:v>
                </c:pt>
                <c:pt idx="6">
                  <c:v>0.21609702315325238</c:v>
                </c:pt>
                <c:pt idx="7">
                  <c:v>0.23271987108811773</c:v>
                </c:pt>
                <c:pt idx="8">
                  <c:v>0.2534136205580524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3-2D2C-4932-A57D-7C7F24495AEB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182"/>
        <c:axId val="447465759"/>
        <c:axId val="447466239"/>
      </c:barChart>
      <c:catAx>
        <c:axId val="447465759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447466239"/>
        <c:crosses val="autoZero"/>
        <c:auto val="1"/>
        <c:lblAlgn val="ctr"/>
        <c:lblOffset val="100"/>
        <c:noMultiLvlLbl val="0"/>
      </c:catAx>
      <c:valAx>
        <c:axId val="447466239"/>
        <c:scaling>
          <c:orientation val="minMax"/>
        </c:scaling>
        <c:delete val="1"/>
        <c:axPos val="b"/>
        <c:numFmt formatCode="0%" sourceLinked="1"/>
        <c:majorTickMark val="none"/>
        <c:minorTickMark val="none"/>
        <c:tickLblPos val="nextTo"/>
        <c:crossAx val="44746575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da-DK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FC6D6E9F-80B6-7174-644C-0530BA8FE3D6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824EF4E-6ADF-D35F-0220-BE4367C4A81A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F891E1A-A410-4BB1-A18A-5D2577D57306}" type="datetimeFigureOut">
              <a:rPr lang="en-US" smtClean="0"/>
              <a:t>3/13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0177F69-F68A-5905-0AEF-F9FC0CC3AB2A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A62779C-A4B7-5FA0-6DBB-40AD44BE8A8C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1B13333-B251-4804-829D-43A51320FDE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0723398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NO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1B2747E-10FF-AC4B-88E1-C739C26D9D63}" type="datetimeFigureOut">
              <a:rPr lang="en-NO" smtClean="0"/>
              <a:t>03/13/2025</a:t>
            </a:fld>
            <a:endParaRPr lang="en-NO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2360613" y="1143000"/>
            <a:ext cx="2136775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NO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NO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NO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7526E27-A735-9A41-ABB0-AB89FE53E662}" type="slidenum">
              <a:rPr lang="en-NO" smtClean="0"/>
              <a:t>‹#›</a:t>
            </a:fld>
            <a:endParaRPr lang="en-NO"/>
          </a:p>
        </p:txBody>
      </p:sp>
    </p:spTree>
    <p:extLst>
      <p:ext uri="{BB962C8B-B14F-4D97-AF65-F5344CB8AC3E}">
        <p14:creationId xmlns:p14="http://schemas.microsoft.com/office/powerpoint/2010/main" val="183521964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E1B2624-94E0-79D6-ED57-BF605B9A24E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>
            <a:extLst>
              <a:ext uri="{FF2B5EF4-FFF2-40B4-BE49-F238E27FC236}">
                <a16:creationId xmlns:a16="http://schemas.microsoft.com/office/drawing/2014/main" id="{8D95CA7F-0D71-760E-F85F-9C597634A8B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>
            <a:extLst>
              <a:ext uri="{FF2B5EF4-FFF2-40B4-BE49-F238E27FC236}">
                <a16:creationId xmlns:a16="http://schemas.microsoft.com/office/drawing/2014/main" id="{B38A3874-95D7-558A-58E9-41EEFB1DD1B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Pladsholder til slidenummer 3">
            <a:extLst>
              <a:ext uri="{FF2B5EF4-FFF2-40B4-BE49-F238E27FC236}">
                <a16:creationId xmlns:a16="http://schemas.microsoft.com/office/drawing/2014/main" id="{9AC672BC-B736-CEF9-6033-27833FFB7CA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7526E27-A735-9A41-ABB0-AB89FE53E662}" type="slidenum">
              <a:rPr lang="en-NO" smtClean="0"/>
              <a:t>1</a:t>
            </a:fld>
            <a:endParaRPr lang="en-NO"/>
          </a:p>
        </p:txBody>
      </p:sp>
    </p:spTree>
    <p:extLst>
      <p:ext uri="{BB962C8B-B14F-4D97-AF65-F5344CB8AC3E}">
        <p14:creationId xmlns:p14="http://schemas.microsoft.com/office/powerpoint/2010/main" val="159337688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5" Type="http://schemas.microsoft.com/office/2007/relationships/hdphoto" Target="../media/hdphoto1.wdp"/><Relationship Id="rId4" Type="http://schemas.openxmlformats.org/officeDocument/2006/relationships/image" Target="../media/image7.png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Relationship Id="rId4" Type="http://schemas.openxmlformats.org/officeDocument/2006/relationships/image" Target="../media/image12.emf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5" Type="http://schemas.openxmlformats.org/officeDocument/2006/relationships/image" Target="../media/image13.emf"/><Relationship Id="rId4" Type="http://schemas.openxmlformats.org/officeDocument/2006/relationships/oleObject" Target="../embeddings/oleObject2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9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#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Graphic 15">
            <a:extLst>
              <a:ext uri="{FF2B5EF4-FFF2-40B4-BE49-F238E27FC236}">
                <a16:creationId xmlns:a16="http://schemas.microsoft.com/office/drawing/2014/main" id="{8A81B719-5E57-78FE-10C1-0ADE3D19E58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291468" y="720021"/>
            <a:ext cx="3292424" cy="8454497"/>
          </a:xfrm>
          <a:prstGeom prst="rect">
            <a:avLst/>
          </a:prstGeom>
        </p:spPr>
      </p:pic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87537" y="4108616"/>
            <a:ext cx="2531567" cy="2483920"/>
          </a:xfrm>
        </p:spPr>
        <p:txBody>
          <a:bodyPr/>
          <a:lstStyle>
            <a:lvl1pPr marL="0" indent="0" algn="l">
              <a:buNone/>
              <a:defRPr sz="1125" b="0" i="0">
                <a:latin typeface="Innovation Norway" panose="020B0500030000000000" pitchFamily="34" charset="77"/>
              </a:defRPr>
            </a:lvl1pPr>
            <a:lvl2pPr marL="257191" indent="0" algn="ctr">
              <a:buNone/>
              <a:defRPr sz="1125"/>
            </a:lvl2pPr>
            <a:lvl3pPr marL="514383" indent="0" algn="ctr">
              <a:buNone/>
              <a:defRPr sz="1013"/>
            </a:lvl3pPr>
            <a:lvl4pPr marL="771573" indent="0" algn="ctr">
              <a:buNone/>
              <a:defRPr sz="900"/>
            </a:lvl4pPr>
            <a:lvl5pPr marL="1028764" indent="0" algn="ctr">
              <a:buNone/>
              <a:defRPr sz="900"/>
            </a:lvl5pPr>
            <a:lvl6pPr marL="1285955" indent="0" algn="ctr">
              <a:buNone/>
              <a:defRPr sz="900"/>
            </a:lvl6pPr>
            <a:lvl7pPr marL="1543146" indent="0" algn="ctr">
              <a:buNone/>
              <a:defRPr sz="900"/>
            </a:lvl7pPr>
            <a:lvl8pPr marL="1800338" indent="0" algn="ctr">
              <a:buNone/>
              <a:defRPr sz="900"/>
            </a:lvl8pPr>
            <a:lvl9pPr marL="2057529" indent="0" algn="ctr">
              <a:buNone/>
              <a:defRPr sz="900"/>
            </a:lvl9pPr>
          </a:lstStyle>
          <a:p>
            <a:r>
              <a:rPr lang="nb-NO"/>
              <a:t>Klikk for å redigere undertittelstil i malen</a:t>
            </a:r>
            <a:endParaRPr lang="en-US"/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8E18EE7D-DF84-6F78-5DED-07D9E3AFB30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87537" y="720020"/>
            <a:ext cx="3065562" cy="1985786"/>
          </a:xfrm>
        </p:spPr>
        <p:txBody>
          <a:bodyPr anchor="t"/>
          <a:lstStyle>
            <a:lvl1pPr algn="l">
              <a:lnSpc>
                <a:spcPct val="101000"/>
              </a:lnSpc>
              <a:defRPr sz="2813"/>
            </a:lvl1pPr>
          </a:lstStyle>
          <a:p>
            <a:r>
              <a:rPr lang="nb-NO"/>
              <a:t>Klikk for å redigere tittelsti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5824948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jenes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F0F147C3-8E63-6760-9182-04A2857B4F06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3499546" y="0"/>
            <a:ext cx="3358455" cy="9906000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nb-NO"/>
              <a:t>Klikk på ikonet for å legge til et bild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83EBE15-06CB-E28A-287E-C8835C9F7D4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87537" y="2930527"/>
            <a:ext cx="2531567" cy="5260659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F7BD30ED-DF75-E9E5-A1FB-7F6001544A6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476244" y="8842144"/>
            <a:ext cx="1094221" cy="332374"/>
          </a:xfrm>
        </p:spPr>
        <p:txBody>
          <a:bodyPr anchor="b"/>
          <a:lstStyle>
            <a:lvl1pPr marL="0" indent="0" algn="r">
              <a:buNone/>
              <a:defRPr sz="45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err="1"/>
              <a:t>Foto</a:t>
            </a:r>
            <a:r>
              <a:rPr lang="en-US"/>
              <a:t>:  </a:t>
            </a:r>
            <a:r>
              <a:rPr lang="en-US" err="1"/>
              <a:t>Navn</a:t>
            </a:r>
            <a:r>
              <a:rPr lang="en-US"/>
              <a:t> </a:t>
            </a:r>
            <a:r>
              <a:rPr lang="en-US" err="1"/>
              <a:t>Navnesen</a:t>
            </a:r>
            <a:endParaRPr lang="nb-NO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2A8D71E-C631-8B9F-850A-3728A97307F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697763" y="8840835"/>
            <a:ext cx="478286" cy="230283"/>
          </a:xfrm>
          <a:prstGeom prst="roundRect">
            <a:avLst>
              <a:gd name="adj" fmla="val 50000"/>
            </a:avLst>
          </a:prstGeom>
          <a:solidFill>
            <a:schemeClr val="bg2"/>
          </a:solidFill>
        </p:spPr>
        <p:txBody>
          <a:bodyPr wrap="none" lIns="90000" tIns="46800" rIns="90000" bIns="46800" anchor="ctr" anchorCtr="0">
            <a:spAutoFit/>
          </a:bodyPr>
          <a:lstStyle>
            <a:lvl1pPr marL="0" indent="0" algn="l">
              <a:buNone/>
              <a:defRPr sz="450"/>
            </a:lvl1pPr>
          </a:lstStyle>
          <a:p>
            <a:pPr lvl="0"/>
            <a:r>
              <a:rPr lang="en-GB" err="1"/>
              <a:t>Bildetekst</a:t>
            </a:r>
            <a:endParaRPr lang="en-NO"/>
          </a:p>
        </p:txBody>
      </p:sp>
    </p:spTree>
    <p:extLst>
      <p:ext uri="{BB962C8B-B14F-4D97-AF65-F5344CB8AC3E}">
        <p14:creationId xmlns:p14="http://schemas.microsoft.com/office/powerpoint/2010/main" val="247939765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>
            <a:extLst>
              <a:ext uri="{FF2B5EF4-FFF2-40B4-BE49-F238E27FC236}">
                <a16:creationId xmlns:a16="http://schemas.microsoft.com/office/drawing/2014/main" id="{1443406B-9B45-6DE4-E7A7-B14D9F7D3D6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90568" y="720019"/>
            <a:ext cx="6279897" cy="1476728"/>
          </a:xfrm>
        </p:spPr>
        <p:txBody>
          <a:bodyPr tIns="0" anchor="t"/>
          <a:lstStyle>
            <a:lvl1pPr algn="l">
              <a:lnSpc>
                <a:spcPct val="101000"/>
              </a:lnSpc>
              <a:defRPr sz="1350"/>
            </a:lvl1pPr>
          </a:lstStyle>
          <a:p>
            <a:r>
              <a:rPr lang="nb-NO"/>
              <a:t>Klikk for å redigere tittelstil</a:t>
            </a:r>
            <a:endParaRPr lang="en-US"/>
          </a:p>
        </p:txBody>
      </p:sp>
      <p:sp>
        <p:nvSpPr>
          <p:cNvPr id="2" name="Text Placeholder 9">
            <a:extLst>
              <a:ext uri="{FF2B5EF4-FFF2-40B4-BE49-F238E27FC236}">
                <a16:creationId xmlns:a16="http://schemas.microsoft.com/office/drawing/2014/main" id="{C0520AFB-7D6B-456F-4007-47BBB34D318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476244" y="8842144"/>
            <a:ext cx="1094221" cy="332374"/>
          </a:xfrm>
        </p:spPr>
        <p:txBody>
          <a:bodyPr anchor="b"/>
          <a:lstStyle>
            <a:lvl1pPr marL="0" indent="0" algn="r">
              <a:buNone/>
              <a:defRPr sz="45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err="1"/>
              <a:t>Foto</a:t>
            </a:r>
            <a:r>
              <a:rPr lang="en-US"/>
              <a:t>: </a:t>
            </a:r>
            <a:r>
              <a:rPr lang="en-US" err="1"/>
              <a:t>Navn</a:t>
            </a:r>
            <a:r>
              <a:rPr lang="en-US"/>
              <a:t> </a:t>
            </a:r>
            <a:r>
              <a:rPr lang="en-US" err="1"/>
              <a:t>Navnesen</a:t>
            </a:r>
            <a:endParaRPr lang="nb-NO"/>
          </a:p>
        </p:txBody>
      </p:sp>
      <p:sp>
        <p:nvSpPr>
          <p:cNvPr id="8" name="Rektangel 7">
            <a:extLst>
              <a:ext uri="{FF2B5EF4-FFF2-40B4-BE49-F238E27FC236}">
                <a16:creationId xmlns:a16="http://schemas.microsoft.com/office/drawing/2014/main" id="{4494A9C6-797C-EF09-4998-64A4449696AF}"/>
              </a:ext>
            </a:extLst>
          </p:cNvPr>
          <p:cNvSpPr/>
          <p:nvPr userDrawn="1"/>
        </p:nvSpPr>
        <p:spPr>
          <a:xfrm>
            <a:off x="235734" y="142875"/>
            <a:ext cx="1228725" cy="4762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da-DK" sz="1200">
              <a:latin typeface="Innovation Norway" panose="020B0500030000000000"/>
            </a:endParaRPr>
          </a:p>
        </p:txBody>
      </p:sp>
      <p:pic>
        <p:nvPicPr>
          <p:cNvPr id="9" name="Graphic 3">
            <a:extLst>
              <a:ext uri="{FF2B5EF4-FFF2-40B4-BE49-F238E27FC236}">
                <a16:creationId xmlns:a16="http://schemas.microsoft.com/office/drawing/2014/main" id="{C2A51775-7047-3614-2B4D-F78EB64B5AE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90568" y="283946"/>
            <a:ext cx="781371" cy="2856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3233855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83EBE15-06CB-E28A-287E-C8835C9F7D4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87537" y="3662012"/>
            <a:ext cx="6282929" cy="4767262"/>
          </a:xfrm>
        </p:spPr>
        <p:txBody>
          <a:bodyPr lIns="216000" rIns="0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896FAE1A-7DCC-D6D8-D5B5-F294FD2F83D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87536" y="2593197"/>
            <a:ext cx="6282928" cy="708802"/>
          </a:xfrm>
        </p:spPr>
        <p:txBody>
          <a:bodyPr anchor="t"/>
          <a:lstStyle>
            <a:lvl1pPr marL="0" indent="0">
              <a:buNone/>
              <a:defRPr sz="1125">
                <a:latin typeface="+mj-lt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1443406B-9B45-6DE4-E7A7-B14D9F7D3D6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87537" y="720019"/>
            <a:ext cx="6282929" cy="1237005"/>
          </a:xfrm>
        </p:spPr>
        <p:txBody>
          <a:bodyPr tIns="0" anchor="t">
            <a:noAutofit/>
          </a:bodyPr>
          <a:lstStyle>
            <a:lvl1pPr algn="l">
              <a:lnSpc>
                <a:spcPct val="101000"/>
              </a:lnSpc>
              <a:defRPr sz="1575" b="1"/>
            </a:lvl1pPr>
          </a:lstStyle>
          <a:p>
            <a:r>
              <a:rPr lang="nb-NO"/>
              <a:t>Klikk for å redigere tittelstil</a:t>
            </a:r>
            <a:endParaRPr lang="en-US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BF234903-8D18-E019-FCCB-175736958517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011C6B0-0EDF-4CC0-B02D-C345A8E073E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57121188-AE7A-48EF-BF71-B58977C188BC}" type="slidenum">
              <a:rPr lang="nb-NO" smtClean="0"/>
              <a:pPr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18880027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tel og tekst Ep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896FAE1A-7DCC-D6D8-D5B5-F294FD2F83D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87536" y="2593199"/>
            <a:ext cx="6282928" cy="435675"/>
          </a:xfrm>
        </p:spPr>
        <p:txBody>
          <a:bodyPr anchor="t">
            <a:noAutofit/>
          </a:bodyPr>
          <a:lstStyle>
            <a:lvl1pPr marL="0" indent="0">
              <a:buNone/>
              <a:defRPr sz="788">
                <a:latin typeface="Innovation Norway Semibold" panose="020B0500030000000000"/>
              </a:defRPr>
            </a:lvl1pPr>
          </a:lstStyle>
          <a:p>
            <a:pPr lvl="0"/>
            <a:r>
              <a:rPr lang="nb-NO"/>
              <a:t>Caption of chart, paragraph...</a:t>
            </a: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1443406B-9B45-6DE4-E7A7-B14D9F7D3D6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87537" y="1032020"/>
            <a:ext cx="6282929" cy="1164726"/>
          </a:xfrm>
        </p:spPr>
        <p:txBody>
          <a:bodyPr tIns="0" anchor="t"/>
          <a:lstStyle>
            <a:lvl1pPr algn="l">
              <a:lnSpc>
                <a:spcPct val="101000"/>
              </a:lnSpc>
              <a:defRPr sz="1350" b="1"/>
            </a:lvl1pPr>
          </a:lstStyle>
          <a:p>
            <a:r>
              <a:rPr lang="nb-NO"/>
              <a:t>Klikk for å redigere tittelstil</a:t>
            </a:r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9B541AF-E653-1F05-ABB4-0DD449DBE53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949811A-2039-593F-41DA-F5F50AB15B0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57121188-AE7A-48EF-BF71-B58977C188BC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94098718-ACBD-C478-F7BF-70F750476EF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87535" y="720019"/>
            <a:ext cx="6283575" cy="312000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788">
                <a:latin typeface="Innovation Norway" panose="020B0500030000000000"/>
              </a:defRPr>
            </a:lvl1pPr>
            <a:lvl2pPr marL="257191" indent="0">
              <a:buFontTx/>
              <a:buNone/>
              <a:defRPr sz="788">
                <a:latin typeface="Innovation Norway" panose="020B0500030000000000"/>
              </a:defRPr>
            </a:lvl2pPr>
            <a:lvl3pPr marL="514383" indent="0">
              <a:buFontTx/>
              <a:buNone/>
              <a:defRPr sz="788">
                <a:latin typeface="Innovation Norway" panose="020B0500030000000000"/>
              </a:defRPr>
            </a:lvl3pPr>
            <a:lvl4pPr marL="771573" indent="0">
              <a:buFontTx/>
              <a:buNone/>
              <a:defRPr sz="788">
                <a:latin typeface="Innovation Norway" panose="020B0500030000000000"/>
              </a:defRPr>
            </a:lvl4pPr>
            <a:lvl5pPr marL="1028765" indent="0">
              <a:buFontTx/>
              <a:buNone/>
              <a:defRPr sz="788">
                <a:latin typeface="Innovation Norway" panose="020B0500030000000000"/>
              </a:defRPr>
            </a:lvl5pPr>
          </a:lstStyle>
          <a:p>
            <a:pPr lvl="0"/>
            <a:r>
              <a:rPr lang="en-US"/>
              <a:t>Click to edit Master Subtitle</a:t>
            </a:r>
            <a:endParaRPr lang="da-DK"/>
          </a:p>
        </p:txBody>
      </p:sp>
      <p:sp>
        <p:nvSpPr>
          <p:cNvPr id="14" name="Content Placeholder 13">
            <a:extLst>
              <a:ext uri="{FF2B5EF4-FFF2-40B4-BE49-F238E27FC236}">
                <a16:creationId xmlns:a16="http://schemas.microsoft.com/office/drawing/2014/main" id="{6AC29B9F-96D4-43D8-DAE9-FC7EBE04BB0C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287537" y="3338689"/>
            <a:ext cx="6283575" cy="5096000"/>
          </a:xfrm>
        </p:spPr>
        <p:txBody>
          <a:bodyPr/>
          <a:lstStyle>
            <a:lvl1pPr>
              <a:defRPr sz="675">
                <a:latin typeface="Innovation Norway" panose="020B0500030000000000"/>
              </a:defRPr>
            </a:lvl1pPr>
            <a:lvl2pPr>
              <a:defRPr sz="675">
                <a:latin typeface="Innovation Norway" panose="020B0500030000000000"/>
              </a:defRPr>
            </a:lvl2pPr>
            <a:lvl3pPr>
              <a:defRPr sz="675">
                <a:latin typeface="Innovation Norway" panose="020B0500030000000000"/>
              </a:defRPr>
            </a:lvl3pPr>
            <a:lvl4pPr>
              <a:defRPr sz="675">
                <a:latin typeface="Innovation Norway" panose="020B0500030000000000"/>
              </a:defRPr>
            </a:lvl4pPr>
            <a:lvl5pPr>
              <a:defRPr sz="675">
                <a:latin typeface="Innovation Norway" panose="020B050003000000000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55088703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tel og tekst Ep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>
            <a:extLst>
              <a:ext uri="{FF2B5EF4-FFF2-40B4-BE49-F238E27FC236}">
                <a16:creationId xmlns:a16="http://schemas.microsoft.com/office/drawing/2014/main" id="{1443406B-9B45-6DE4-E7A7-B14D9F7D3D6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87537" y="1032020"/>
            <a:ext cx="6282929" cy="1164726"/>
          </a:xfrm>
        </p:spPr>
        <p:txBody>
          <a:bodyPr tIns="0" anchor="t"/>
          <a:lstStyle>
            <a:lvl1pPr algn="l">
              <a:lnSpc>
                <a:spcPct val="101000"/>
              </a:lnSpc>
              <a:defRPr sz="1350" b="1"/>
            </a:lvl1pPr>
          </a:lstStyle>
          <a:p>
            <a:r>
              <a:rPr lang="nb-NO"/>
              <a:t>Klikk for å redigere tittelstil</a:t>
            </a:r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9B541AF-E653-1F05-ABB4-0DD449DBE53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949811A-2039-593F-41DA-F5F50AB15B0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57121188-AE7A-48EF-BF71-B58977C188BC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94098718-ACBD-C478-F7BF-70F750476EF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87535" y="720019"/>
            <a:ext cx="6283575" cy="312000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788">
                <a:latin typeface="Innovation Norway" panose="020B0500030000000000"/>
              </a:defRPr>
            </a:lvl1pPr>
            <a:lvl2pPr marL="257191" indent="0">
              <a:buFontTx/>
              <a:buNone/>
              <a:defRPr sz="788">
                <a:latin typeface="Innovation Norway" panose="020B0500030000000000"/>
              </a:defRPr>
            </a:lvl2pPr>
            <a:lvl3pPr marL="514383" indent="0">
              <a:buFontTx/>
              <a:buNone/>
              <a:defRPr sz="788">
                <a:latin typeface="Innovation Norway" panose="020B0500030000000000"/>
              </a:defRPr>
            </a:lvl3pPr>
            <a:lvl4pPr marL="771573" indent="0">
              <a:buFontTx/>
              <a:buNone/>
              <a:defRPr sz="788">
                <a:latin typeface="Innovation Norway" panose="020B0500030000000000"/>
              </a:defRPr>
            </a:lvl4pPr>
            <a:lvl5pPr marL="1028765" indent="0">
              <a:buFontTx/>
              <a:buNone/>
              <a:defRPr sz="788">
                <a:latin typeface="Innovation Norway" panose="020B0500030000000000"/>
              </a:defRPr>
            </a:lvl5pPr>
          </a:lstStyle>
          <a:p>
            <a:pPr lvl="0"/>
            <a:r>
              <a:rPr lang="en-US"/>
              <a:t>Click to edit Master Subtitle</a:t>
            </a:r>
            <a:endParaRPr lang="da-DK"/>
          </a:p>
        </p:txBody>
      </p:sp>
      <p:sp>
        <p:nvSpPr>
          <p:cNvPr id="14" name="Content Placeholder 13">
            <a:extLst>
              <a:ext uri="{FF2B5EF4-FFF2-40B4-BE49-F238E27FC236}">
                <a16:creationId xmlns:a16="http://schemas.microsoft.com/office/drawing/2014/main" id="{6AC29B9F-96D4-43D8-DAE9-FC7EBE04BB0C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287536" y="2593197"/>
            <a:ext cx="1944000" cy="5836077"/>
          </a:xfrm>
        </p:spPr>
        <p:txBody>
          <a:bodyPr/>
          <a:lstStyle>
            <a:lvl1pPr>
              <a:defRPr sz="675">
                <a:latin typeface="Innovation Norway" panose="020B0500030000000000"/>
              </a:defRPr>
            </a:lvl1pPr>
            <a:lvl2pPr>
              <a:defRPr sz="675">
                <a:latin typeface="Innovation Norway" panose="020B0500030000000000"/>
              </a:defRPr>
            </a:lvl2pPr>
            <a:lvl3pPr>
              <a:defRPr sz="675">
                <a:latin typeface="Innovation Norway" panose="020B0500030000000000"/>
              </a:defRPr>
            </a:lvl3pPr>
            <a:lvl4pPr>
              <a:defRPr sz="675">
                <a:latin typeface="Innovation Norway" panose="020B0500030000000000"/>
              </a:defRPr>
            </a:lvl4pPr>
            <a:lvl5pPr>
              <a:defRPr sz="675">
                <a:latin typeface="Innovation Norway" panose="020B050003000000000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a-DK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8D44C623-09EF-6955-AD1B-1CDAE9BE4D7D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2425304" y="2593447"/>
            <a:ext cx="4145161" cy="5835826"/>
          </a:xfrm>
        </p:spPr>
        <p:txBody>
          <a:bodyPr/>
          <a:lstStyle>
            <a:lvl1pPr>
              <a:defRPr sz="675">
                <a:latin typeface="Innovation Norway" panose="020B0500030000000000"/>
              </a:defRPr>
            </a:lvl1pPr>
            <a:lvl2pPr>
              <a:defRPr sz="675">
                <a:latin typeface="Innovation Norway" panose="020B0500030000000000"/>
              </a:defRPr>
            </a:lvl2pPr>
            <a:lvl3pPr>
              <a:defRPr sz="675">
                <a:latin typeface="Innovation Norway" panose="020B0500030000000000"/>
              </a:defRPr>
            </a:lvl3pPr>
            <a:lvl4pPr>
              <a:defRPr sz="675">
                <a:latin typeface="Innovation Norway" panose="020B0500030000000000"/>
              </a:defRPr>
            </a:lvl4pPr>
            <a:lvl5pPr>
              <a:defRPr sz="675">
                <a:latin typeface="Innovation Norway" panose="020B050003000000000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28505302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tel og tekst Ep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>
            <a:extLst>
              <a:ext uri="{FF2B5EF4-FFF2-40B4-BE49-F238E27FC236}">
                <a16:creationId xmlns:a16="http://schemas.microsoft.com/office/drawing/2014/main" id="{1443406B-9B45-6DE4-E7A7-B14D9F7D3D6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87535" y="1032020"/>
            <a:ext cx="1944000" cy="1164726"/>
          </a:xfrm>
        </p:spPr>
        <p:txBody>
          <a:bodyPr tIns="0" anchor="t"/>
          <a:lstStyle>
            <a:lvl1pPr algn="l">
              <a:lnSpc>
                <a:spcPct val="101000"/>
              </a:lnSpc>
              <a:defRPr sz="1350" b="1"/>
            </a:lvl1pPr>
          </a:lstStyle>
          <a:p>
            <a:r>
              <a:rPr lang="nb-NO"/>
              <a:t>Klikk for å redigere tittelstil</a:t>
            </a:r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9B541AF-E653-1F05-ABB4-0DD449DBE53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949811A-2039-593F-41DA-F5F50AB15B0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57121188-AE7A-48EF-BF71-B58977C188BC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94098718-ACBD-C478-F7BF-70F750476EF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87535" y="720019"/>
            <a:ext cx="1944000" cy="312000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788">
                <a:latin typeface="Innovation Norway" panose="020B0500030000000000"/>
              </a:defRPr>
            </a:lvl1pPr>
            <a:lvl2pPr marL="257191" indent="0">
              <a:buFontTx/>
              <a:buNone/>
              <a:defRPr sz="788">
                <a:latin typeface="Innovation Norway" panose="020B0500030000000000"/>
              </a:defRPr>
            </a:lvl2pPr>
            <a:lvl3pPr marL="514383" indent="0">
              <a:buFontTx/>
              <a:buNone/>
              <a:defRPr sz="788">
                <a:latin typeface="Innovation Norway" panose="020B0500030000000000"/>
              </a:defRPr>
            </a:lvl3pPr>
            <a:lvl4pPr marL="771573" indent="0">
              <a:buFontTx/>
              <a:buNone/>
              <a:defRPr sz="788">
                <a:latin typeface="Innovation Norway" panose="020B0500030000000000"/>
              </a:defRPr>
            </a:lvl4pPr>
            <a:lvl5pPr marL="1028765" indent="0">
              <a:buFontTx/>
              <a:buNone/>
              <a:defRPr sz="788">
                <a:latin typeface="Innovation Norway" panose="020B0500030000000000"/>
              </a:defRPr>
            </a:lvl5pPr>
          </a:lstStyle>
          <a:p>
            <a:pPr lvl="0"/>
            <a:r>
              <a:rPr lang="en-US"/>
              <a:t>Click to edit Master Subtitle</a:t>
            </a:r>
            <a:endParaRPr lang="da-DK"/>
          </a:p>
        </p:txBody>
      </p:sp>
      <p:sp>
        <p:nvSpPr>
          <p:cNvPr id="14" name="Content Placeholder 13">
            <a:extLst>
              <a:ext uri="{FF2B5EF4-FFF2-40B4-BE49-F238E27FC236}">
                <a16:creationId xmlns:a16="http://schemas.microsoft.com/office/drawing/2014/main" id="{6AC29B9F-96D4-43D8-DAE9-FC7EBE04BB0C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287536" y="2930527"/>
            <a:ext cx="1944000" cy="5498747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675">
                <a:latin typeface="Innovation Norway" panose="020B0500030000000000"/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675">
                <a:latin typeface="Innovation Norway" panose="020B0500030000000000"/>
              </a:defRPr>
            </a:lvl2pPr>
            <a:lvl3pPr>
              <a:lnSpc>
                <a:spcPct val="100000"/>
              </a:lnSpc>
              <a:spcBef>
                <a:spcPts val="0"/>
              </a:spcBef>
              <a:defRPr sz="675">
                <a:latin typeface="Innovation Norway" panose="020B0500030000000000"/>
              </a:defRPr>
            </a:lvl3pPr>
            <a:lvl4pPr>
              <a:lnSpc>
                <a:spcPct val="100000"/>
              </a:lnSpc>
              <a:spcBef>
                <a:spcPts val="0"/>
              </a:spcBef>
              <a:defRPr sz="675">
                <a:latin typeface="Innovation Norway" panose="020B0500030000000000"/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675">
                <a:latin typeface="Innovation Norway" panose="020B050003000000000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a-DK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8D44C623-09EF-6955-AD1B-1CDAE9BE4D7D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2416375" y="2196746"/>
            <a:ext cx="4154091" cy="6232526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675">
                <a:latin typeface="Innovation Norway" panose="020B0500030000000000"/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675">
                <a:latin typeface="Innovation Norway" panose="020B0500030000000000"/>
              </a:defRPr>
            </a:lvl2pPr>
            <a:lvl3pPr>
              <a:lnSpc>
                <a:spcPct val="100000"/>
              </a:lnSpc>
              <a:spcBef>
                <a:spcPts val="0"/>
              </a:spcBef>
              <a:defRPr sz="675">
                <a:latin typeface="Innovation Norway" panose="020B0500030000000000"/>
              </a:defRPr>
            </a:lvl3pPr>
            <a:lvl4pPr>
              <a:lnSpc>
                <a:spcPct val="100000"/>
              </a:lnSpc>
              <a:spcBef>
                <a:spcPts val="0"/>
              </a:spcBef>
              <a:defRPr sz="675">
                <a:latin typeface="Innovation Norway" panose="020B0500030000000000"/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675">
                <a:latin typeface="Innovation Norway" panose="020B050003000000000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73977855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tel og tekst Ep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>
            <a:extLst>
              <a:ext uri="{FF2B5EF4-FFF2-40B4-BE49-F238E27FC236}">
                <a16:creationId xmlns:a16="http://schemas.microsoft.com/office/drawing/2014/main" id="{1443406B-9B45-6DE4-E7A7-B14D9F7D3D6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87537" y="1032020"/>
            <a:ext cx="6282929" cy="1164726"/>
          </a:xfrm>
        </p:spPr>
        <p:txBody>
          <a:bodyPr tIns="0" anchor="t"/>
          <a:lstStyle>
            <a:lvl1pPr algn="l">
              <a:lnSpc>
                <a:spcPct val="101000"/>
              </a:lnSpc>
              <a:defRPr sz="1350" b="1"/>
            </a:lvl1pPr>
          </a:lstStyle>
          <a:p>
            <a:r>
              <a:rPr lang="nb-NO"/>
              <a:t>Klikk for å redigere tittelstil</a:t>
            </a:r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9B541AF-E653-1F05-ABB4-0DD449DBE53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949811A-2039-593F-41DA-F5F50AB15B0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57121188-AE7A-48EF-BF71-B58977C188BC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94098718-ACBD-C478-F7BF-70F750476EF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87535" y="720019"/>
            <a:ext cx="6283575" cy="312000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788">
                <a:latin typeface="Innovation Norway" panose="020B0500030000000000"/>
              </a:defRPr>
            </a:lvl1pPr>
            <a:lvl2pPr marL="257191" indent="0">
              <a:buFontTx/>
              <a:buNone/>
              <a:defRPr sz="788">
                <a:latin typeface="Innovation Norway" panose="020B0500030000000000"/>
              </a:defRPr>
            </a:lvl2pPr>
            <a:lvl3pPr marL="514383" indent="0">
              <a:buFontTx/>
              <a:buNone/>
              <a:defRPr sz="788">
                <a:latin typeface="Innovation Norway" panose="020B0500030000000000"/>
              </a:defRPr>
            </a:lvl3pPr>
            <a:lvl4pPr marL="771573" indent="0">
              <a:buFontTx/>
              <a:buNone/>
              <a:defRPr sz="788">
                <a:latin typeface="Innovation Norway" panose="020B0500030000000000"/>
              </a:defRPr>
            </a:lvl4pPr>
            <a:lvl5pPr marL="1028765" indent="0">
              <a:buFontTx/>
              <a:buNone/>
              <a:defRPr sz="788">
                <a:latin typeface="Innovation Norway" panose="020B0500030000000000"/>
              </a:defRPr>
            </a:lvl5pPr>
          </a:lstStyle>
          <a:p>
            <a:pPr lvl="0"/>
            <a:r>
              <a:rPr lang="en-US"/>
              <a:t>Click to edit Master Subtitle</a:t>
            </a:r>
            <a:endParaRPr lang="da-DK"/>
          </a:p>
        </p:txBody>
      </p:sp>
      <p:sp>
        <p:nvSpPr>
          <p:cNvPr id="14" name="Content Placeholder 13">
            <a:extLst>
              <a:ext uri="{FF2B5EF4-FFF2-40B4-BE49-F238E27FC236}">
                <a16:creationId xmlns:a16="http://schemas.microsoft.com/office/drawing/2014/main" id="{6AC29B9F-96D4-43D8-DAE9-FC7EBE04BB0C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287536" y="2593197"/>
            <a:ext cx="1996678" cy="5836077"/>
          </a:xfrm>
        </p:spPr>
        <p:txBody>
          <a:bodyPr/>
          <a:lstStyle>
            <a:lvl1pPr>
              <a:defRPr sz="675">
                <a:latin typeface="Innovation Norway" panose="020B0500030000000000"/>
              </a:defRPr>
            </a:lvl1pPr>
            <a:lvl2pPr>
              <a:defRPr sz="675">
                <a:latin typeface="Innovation Norway" panose="020B0500030000000000"/>
              </a:defRPr>
            </a:lvl2pPr>
            <a:lvl3pPr>
              <a:defRPr sz="675">
                <a:latin typeface="Innovation Norway" panose="020B0500030000000000"/>
              </a:defRPr>
            </a:lvl3pPr>
            <a:lvl4pPr>
              <a:defRPr sz="675">
                <a:latin typeface="Innovation Norway" panose="020B0500030000000000"/>
              </a:defRPr>
            </a:lvl4pPr>
            <a:lvl5pPr>
              <a:defRPr sz="675">
                <a:latin typeface="Innovation Norway" panose="020B050003000000000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a-DK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8D44C623-09EF-6955-AD1B-1CDAE9BE4D7D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2425304" y="3167475"/>
            <a:ext cx="4145161" cy="5261798"/>
          </a:xfrm>
          <a:noFill/>
        </p:spPr>
        <p:txBody>
          <a:bodyPr/>
          <a:lstStyle>
            <a:lvl1pPr>
              <a:defRPr sz="675">
                <a:latin typeface="Innovation Norway" panose="020B0500030000000000"/>
              </a:defRPr>
            </a:lvl1pPr>
            <a:lvl2pPr>
              <a:defRPr sz="675">
                <a:latin typeface="Innovation Norway" panose="020B0500030000000000"/>
              </a:defRPr>
            </a:lvl2pPr>
            <a:lvl3pPr>
              <a:defRPr sz="675">
                <a:latin typeface="Innovation Norway" panose="020B0500030000000000"/>
              </a:defRPr>
            </a:lvl3pPr>
            <a:lvl4pPr>
              <a:defRPr sz="675">
                <a:latin typeface="Innovation Norway" panose="020B0500030000000000"/>
              </a:defRPr>
            </a:lvl4pPr>
            <a:lvl5pPr>
              <a:defRPr sz="675">
                <a:latin typeface="Innovation Norway" panose="020B050003000000000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418400746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tel og tekst Ep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>
            <a:extLst>
              <a:ext uri="{FF2B5EF4-FFF2-40B4-BE49-F238E27FC236}">
                <a16:creationId xmlns:a16="http://schemas.microsoft.com/office/drawing/2014/main" id="{1443406B-9B45-6DE4-E7A7-B14D9F7D3D6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87537" y="1032020"/>
            <a:ext cx="6282929" cy="1164726"/>
          </a:xfrm>
        </p:spPr>
        <p:txBody>
          <a:bodyPr tIns="0" anchor="t"/>
          <a:lstStyle>
            <a:lvl1pPr algn="l">
              <a:lnSpc>
                <a:spcPct val="101000"/>
              </a:lnSpc>
              <a:defRPr sz="1350" b="1"/>
            </a:lvl1pPr>
          </a:lstStyle>
          <a:p>
            <a:r>
              <a:rPr lang="nb-NO"/>
              <a:t>Klikk for å redigere tittelstil</a:t>
            </a:r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9B541AF-E653-1F05-ABB4-0DD449DBE53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949811A-2039-593F-41DA-F5F50AB15B0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57121188-AE7A-48EF-BF71-B58977C188BC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94098718-ACBD-C478-F7BF-70F750476EF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87535" y="720019"/>
            <a:ext cx="6283575" cy="312000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788">
                <a:latin typeface="Innovation Norway" panose="020B0500030000000000"/>
              </a:defRPr>
            </a:lvl1pPr>
            <a:lvl2pPr marL="257191" indent="0">
              <a:buFontTx/>
              <a:buNone/>
              <a:defRPr sz="788">
                <a:latin typeface="Innovation Norway" panose="020B0500030000000000"/>
              </a:defRPr>
            </a:lvl2pPr>
            <a:lvl3pPr marL="514383" indent="0">
              <a:buFontTx/>
              <a:buNone/>
              <a:defRPr sz="788">
                <a:latin typeface="Innovation Norway" panose="020B0500030000000000"/>
              </a:defRPr>
            </a:lvl3pPr>
            <a:lvl4pPr marL="771573" indent="0">
              <a:buFontTx/>
              <a:buNone/>
              <a:defRPr sz="788">
                <a:latin typeface="Innovation Norway" panose="020B0500030000000000"/>
              </a:defRPr>
            </a:lvl4pPr>
            <a:lvl5pPr marL="1028765" indent="0">
              <a:buFontTx/>
              <a:buNone/>
              <a:defRPr sz="788">
                <a:latin typeface="Innovation Norway" panose="020B0500030000000000"/>
              </a:defRPr>
            </a:lvl5pPr>
          </a:lstStyle>
          <a:p>
            <a:pPr lvl="0"/>
            <a:r>
              <a:rPr lang="en-US"/>
              <a:t>Click to edit Master Subtitle</a:t>
            </a:r>
            <a:endParaRPr lang="da-DK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8D44C623-09EF-6955-AD1B-1CDAE9BE4D7D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287535" y="3167475"/>
            <a:ext cx="3065850" cy="5261798"/>
          </a:xfrm>
          <a:noFill/>
        </p:spPr>
        <p:txBody>
          <a:bodyPr/>
          <a:lstStyle>
            <a:lvl1pPr>
              <a:defRPr sz="675">
                <a:latin typeface="Innovation Norway" panose="020B0500030000000000"/>
              </a:defRPr>
            </a:lvl1pPr>
            <a:lvl2pPr>
              <a:defRPr sz="675">
                <a:latin typeface="Innovation Norway" panose="020B0500030000000000"/>
              </a:defRPr>
            </a:lvl2pPr>
            <a:lvl3pPr>
              <a:defRPr sz="675">
                <a:latin typeface="Innovation Norway" panose="020B0500030000000000"/>
              </a:defRPr>
            </a:lvl3pPr>
            <a:lvl4pPr>
              <a:defRPr sz="675">
                <a:latin typeface="Innovation Norway" panose="020B0500030000000000"/>
              </a:defRPr>
            </a:lvl4pPr>
            <a:lvl5pPr>
              <a:defRPr sz="675">
                <a:latin typeface="Innovation Norway" panose="020B050003000000000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a-DK"/>
          </a:p>
        </p:txBody>
      </p:sp>
      <p:sp>
        <p:nvSpPr>
          <p:cNvPr id="10" name="Content Placeholder 4">
            <a:extLst>
              <a:ext uri="{FF2B5EF4-FFF2-40B4-BE49-F238E27FC236}">
                <a16:creationId xmlns:a16="http://schemas.microsoft.com/office/drawing/2014/main" id="{EA904B5A-23C7-9B21-01B3-4390DC4F7F36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3504614" y="3167475"/>
            <a:ext cx="3065850" cy="5261798"/>
          </a:xfrm>
          <a:noFill/>
        </p:spPr>
        <p:txBody>
          <a:bodyPr/>
          <a:lstStyle>
            <a:lvl1pPr>
              <a:defRPr sz="675">
                <a:latin typeface="Innovation Norway" panose="020B0500030000000000"/>
              </a:defRPr>
            </a:lvl1pPr>
            <a:lvl2pPr>
              <a:defRPr sz="675">
                <a:latin typeface="Innovation Norway" panose="020B0500030000000000"/>
              </a:defRPr>
            </a:lvl2pPr>
            <a:lvl3pPr>
              <a:defRPr sz="675">
                <a:latin typeface="Innovation Norway" panose="020B0500030000000000"/>
              </a:defRPr>
            </a:lvl3pPr>
            <a:lvl4pPr>
              <a:defRPr sz="675">
                <a:latin typeface="Innovation Norway" panose="020B0500030000000000"/>
              </a:defRPr>
            </a:lvl4pPr>
            <a:lvl5pPr>
              <a:defRPr sz="675">
                <a:latin typeface="Innovation Norway" panose="020B050003000000000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75956592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to kolon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0A39B0A9-F216-323A-083C-054D65A197C8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286936" y="2570518"/>
            <a:ext cx="3066163" cy="5858756"/>
          </a:xfrm>
          <a:prstGeom prst="rect">
            <a:avLst/>
          </a:prstGeom>
        </p:spPr>
        <p:txBody>
          <a:bodyPr lIns="0" tIns="0" rIns="0" bIns="0" numCol="1" spcCol="133200"/>
          <a:lstStyle>
            <a:lvl1pPr>
              <a:defRPr sz="675">
                <a:latin typeface="Innovation Norway" panose="020B0500030000000000"/>
              </a:defRPr>
            </a:lvl1pPr>
            <a:lvl2pPr>
              <a:defRPr sz="675">
                <a:latin typeface="Innovation Norway" panose="020B0500030000000000"/>
              </a:defRPr>
            </a:lvl2pPr>
            <a:lvl3pPr>
              <a:defRPr sz="675">
                <a:latin typeface="Innovation Norway" panose="020B0500030000000000"/>
              </a:defRPr>
            </a:lvl3pPr>
            <a:lvl4pPr>
              <a:defRPr sz="675">
                <a:latin typeface="Innovation Norway" panose="020B0500030000000000"/>
              </a:defRPr>
            </a:lvl4pPr>
            <a:lvl5pPr>
              <a:defRPr sz="675">
                <a:latin typeface="Innovation Norway" panose="020B0500030000000000"/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10C23297-7BE7-12E8-6228-5E152B0B38D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86936" y="720019"/>
            <a:ext cx="6283529" cy="1476728"/>
          </a:xfrm>
        </p:spPr>
        <p:txBody>
          <a:bodyPr tIns="0" anchor="t"/>
          <a:lstStyle>
            <a:lvl1pPr algn="l">
              <a:lnSpc>
                <a:spcPct val="101000"/>
              </a:lnSpc>
              <a:defRPr sz="1350" b="1"/>
            </a:lvl1pPr>
          </a:lstStyle>
          <a:p>
            <a:r>
              <a:rPr lang="nb-NO"/>
              <a:t>Klikk for å redigere tittelstil</a:t>
            </a:r>
            <a:endParaRPr lang="en-US"/>
          </a:p>
        </p:txBody>
      </p:sp>
      <p:sp>
        <p:nvSpPr>
          <p:cNvPr id="4" name="Text Placeholder 10">
            <a:extLst>
              <a:ext uri="{FF2B5EF4-FFF2-40B4-BE49-F238E27FC236}">
                <a16:creationId xmlns:a16="http://schemas.microsoft.com/office/drawing/2014/main" id="{F60BD7FE-342A-B1C5-51BF-6ED3EF40EA4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499546" y="2570518"/>
            <a:ext cx="3070919" cy="5858756"/>
          </a:xfrm>
          <a:prstGeom prst="rect">
            <a:avLst/>
          </a:prstGeom>
        </p:spPr>
        <p:txBody>
          <a:bodyPr lIns="0" tIns="0" rIns="0" bIns="0" numCol="1" spcCol="133200"/>
          <a:lstStyle>
            <a:lvl1pPr>
              <a:defRPr sz="675">
                <a:latin typeface="Innovation Norway" panose="020B0500030000000000"/>
              </a:defRPr>
            </a:lvl1pPr>
            <a:lvl2pPr>
              <a:defRPr sz="675">
                <a:latin typeface="Innovation Norway" panose="020B0500030000000000"/>
              </a:defRPr>
            </a:lvl2pPr>
            <a:lvl3pPr>
              <a:defRPr sz="675">
                <a:latin typeface="Innovation Norway" panose="020B0500030000000000"/>
              </a:defRPr>
            </a:lvl3pPr>
            <a:lvl4pPr>
              <a:defRPr sz="675">
                <a:latin typeface="Innovation Norway" panose="020B0500030000000000"/>
              </a:defRPr>
            </a:lvl4pPr>
            <a:lvl5pPr>
              <a:defRPr sz="675">
                <a:latin typeface="Innovation Norway" panose="020B0500030000000000"/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5150F579-3C52-B338-6048-FD520377A62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F543F3F-D85F-6EDA-2B76-9138B33E472E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57121188-AE7A-48EF-BF71-B58977C188BC}" type="slidenum">
              <a:rPr lang="nb-NO" smtClean="0"/>
              <a:pPr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96608644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tre kolon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34B20F27-7D10-69F1-11B9-B53B819CED28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283965" y="2570518"/>
            <a:ext cx="2002036" cy="5487281"/>
          </a:xfrm>
          <a:prstGeom prst="rect">
            <a:avLst/>
          </a:prstGeom>
        </p:spPr>
        <p:txBody>
          <a:bodyPr lIns="0" tIns="0" rIns="0" bIns="0" numCol="1" spcCol="133200"/>
          <a:lstStyle>
            <a:lvl1pPr>
              <a:defRPr sz="675">
                <a:latin typeface="Innovation Norway" panose="020B0500030000000000"/>
              </a:defRPr>
            </a:lvl1pPr>
            <a:lvl2pPr>
              <a:defRPr sz="675">
                <a:latin typeface="Innovation Norway" panose="020B0500030000000000"/>
              </a:defRPr>
            </a:lvl2pPr>
            <a:lvl3pPr>
              <a:defRPr sz="675">
                <a:latin typeface="Innovation Norway" panose="020B0500030000000000"/>
              </a:defRPr>
            </a:lvl3pPr>
            <a:lvl4pPr>
              <a:defRPr sz="675">
                <a:latin typeface="Innovation Norway" panose="020B0500030000000000"/>
              </a:defRPr>
            </a:lvl4pPr>
            <a:lvl5pPr>
              <a:defRPr sz="675">
                <a:latin typeface="Innovation Norway" panose="020B0500030000000000"/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8876232-7155-3060-3B53-8C716D38527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83966" y="720019"/>
            <a:ext cx="6286499" cy="1476728"/>
          </a:xfrm>
        </p:spPr>
        <p:txBody>
          <a:bodyPr tIns="0" bIns="0" anchor="t"/>
          <a:lstStyle>
            <a:lvl1pPr algn="l">
              <a:lnSpc>
                <a:spcPct val="101000"/>
              </a:lnSpc>
              <a:defRPr sz="1350" b="1"/>
            </a:lvl1pPr>
          </a:lstStyle>
          <a:p>
            <a:r>
              <a:rPr lang="nb-NO"/>
              <a:t>Klikk for å redigere tittelstil</a:t>
            </a:r>
            <a:endParaRPr lang="en-US"/>
          </a:p>
        </p:txBody>
      </p:sp>
      <p:sp>
        <p:nvSpPr>
          <p:cNvPr id="4" name="Text Placeholder 10">
            <a:extLst>
              <a:ext uri="{FF2B5EF4-FFF2-40B4-BE49-F238E27FC236}">
                <a16:creationId xmlns:a16="http://schemas.microsoft.com/office/drawing/2014/main" id="{42059FEF-52B8-5715-21BB-64C5551EDFD2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2427038" y="2570520"/>
            <a:ext cx="2002036" cy="5487281"/>
          </a:xfrm>
          <a:prstGeom prst="rect">
            <a:avLst/>
          </a:prstGeom>
        </p:spPr>
        <p:txBody>
          <a:bodyPr lIns="0" tIns="0" rIns="0" bIns="0" numCol="1" spcCol="133200"/>
          <a:lstStyle>
            <a:lvl1pPr>
              <a:defRPr sz="675">
                <a:latin typeface="Innovation Norway" panose="020B0500030000000000"/>
              </a:defRPr>
            </a:lvl1pPr>
            <a:lvl2pPr>
              <a:defRPr sz="675">
                <a:latin typeface="Innovation Norway" panose="020B0500030000000000"/>
              </a:defRPr>
            </a:lvl2pPr>
            <a:lvl3pPr>
              <a:defRPr sz="675">
                <a:latin typeface="Innovation Norway" panose="020B0500030000000000"/>
              </a:defRPr>
            </a:lvl3pPr>
            <a:lvl4pPr>
              <a:defRPr sz="675">
                <a:latin typeface="Innovation Norway" panose="020B0500030000000000"/>
              </a:defRPr>
            </a:lvl4pPr>
            <a:lvl5pPr>
              <a:defRPr sz="675">
                <a:latin typeface="Innovation Norway" panose="020B0500030000000000"/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5" name="Text Placeholder 10">
            <a:extLst>
              <a:ext uri="{FF2B5EF4-FFF2-40B4-BE49-F238E27FC236}">
                <a16:creationId xmlns:a16="http://schemas.microsoft.com/office/drawing/2014/main" id="{20C2CF5C-3326-ADF8-C19F-E11306D12ED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570112" y="2570518"/>
            <a:ext cx="2000353" cy="5487281"/>
          </a:xfrm>
          <a:prstGeom prst="rect">
            <a:avLst/>
          </a:prstGeom>
        </p:spPr>
        <p:txBody>
          <a:bodyPr lIns="0" tIns="0" rIns="0" bIns="0" numCol="1" spcCol="133200"/>
          <a:lstStyle>
            <a:lvl1pPr>
              <a:defRPr sz="675">
                <a:latin typeface="Innovation Norway" panose="020B0500030000000000"/>
              </a:defRPr>
            </a:lvl1pPr>
            <a:lvl2pPr>
              <a:defRPr sz="675">
                <a:latin typeface="Innovation Norway" panose="020B0500030000000000"/>
              </a:defRPr>
            </a:lvl2pPr>
            <a:lvl3pPr>
              <a:defRPr sz="675">
                <a:latin typeface="Innovation Norway" panose="020B0500030000000000"/>
              </a:defRPr>
            </a:lvl3pPr>
            <a:lvl4pPr>
              <a:defRPr sz="675">
                <a:latin typeface="Innovation Norway" panose="020B0500030000000000"/>
              </a:defRPr>
            </a:lvl4pPr>
            <a:lvl5pPr>
              <a:defRPr sz="675">
                <a:latin typeface="Innovation Norway" panose="020B0500030000000000"/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A277ED3B-C9A2-F7C6-4392-26F51C9C4C99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3DDD1F1A-E93B-0853-6F2D-BFFAE5734B77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57121188-AE7A-48EF-BF71-B58977C188BC}" type="slidenum">
              <a:rPr lang="nb-NO" smtClean="0"/>
              <a:pPr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63906697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#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D0D82FF9-0D9D-587E-40FB-B737558EA4E4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6858000" cy="9906000"/>
          </a:xfrm>
          <a:solidFill>
            <a:schemeClr val="bg1">
              <a:lumMod val="50000"/>
            </a:schemeClr>
          </a:solidFill>
        </p:spPr>
        <p:txBody>
          <a:bodyPr/>
          <a:lstStyle>
            <a:lvl1pPr marL="0" indent="0" algn="r">
              <a:buNone/>
              <a:defRPr sz="788">
                <a:solidFill>
                  <a:schemeClr val="bg1"/>
                </a:solidFill>
              </a:defRPr>
            </a:lvl1pPr>
          </a:lstStyle>
          <a:p>
            <a:r>
              <a:rPr lang="nb-NO"/>
              <a:t>Klikk på ikonet for å legge til et bilde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2ED22CAF-8566-4AF7-2D1D-7B754ED3458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476244" y="8842144"/>
            <a:ext cx="1094221" cy="332374"/>
          </a:xfrm>
        </p:spPr>
        <p:txBody>
          <a:bodyPr anchor="b"/>
          <a:lstStyle>
            <a:lvl1pPr marL="0" indent="0" algn="r">
              <a:buNone/>
              <a:defRPr sz="45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err="1"/>
              <a:t>Foto</a:t>
            </a:r>
            <a:r>
              <a:rPr lang="en-US"/>
              <a:t>: </a:t>
            </a:r>
            <a:r>
              <a:rPr lang="en-US" err="1"/>
              <a:t>Navn</a:t>
            </a:r>
            <a:r>
              <a:rPr lang="en-US"/>
              <a:t> </a:t>
            </a:r>
            <a:r>
              <a:rPr lang="en-US" err="1"/>
              <a:t>Navnesen</a:t>
            </a:r>
            <a:endParaRPr lang="nb-NO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BC1E5AC3-7AAE-2477-5A4D-8A2E27A0911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87537" y="4395788"/>
            <a:ext cx="2695341" cy="2241162"/>
          </a:xfrm>
        </p:spPr>
        <p:txBody>
          <a:bodyPr/>
          <a:lstStyle>
            <a:lvl1pPr marL="0" indent="0" algn="l">
              <a:buNone/>
              <a:defRPr sz="1125">
                <a:solidFill>
                  <a:schemeClr val="bg1"/>
                </a:solidFill>
                <a:latin typeface="+mj-lt"/>
              </a:defRPr>
            </a:lvl1pPr>
            <a:lvl2pPr marL="257191" indent="0" algn="ctr">
              <a:buNone/>
              <a:defRPr sz="1125"/>
            </a:lvl2pPr>
            <a:lvl3pPr marL="514383" indent="0" algn="ctr">
              <a:buNone/>
              <a:defRPr sz="1013"/>
            </a:lvl3pPr>
            <a:lvl4pPr marL="771573" indent="0" algn="ctr">
              <a:buNone/>
              <a:defRPr sz="900"/>
            </a:lvl4pPr>
            <a:lvl5pPr marL="1028764" indent="0" algn="ctr">
              <a:buNone/>
              <a:defRPr sz="900"/>
            </a:lvl5pPr>
            <a:lvl6pPr marL="1285955" indent="0" algn="ctr">
              <a:buNone/>
              <a:defRPr sz="900"/>
            </a:lvl6pPr>
            <a:lvl7pPr marL="1543146" indent="0" algn="ctr">
              <a:buNone/>
              <a:defRPr sz="900"/>
            </a:lvl7pPr>
            <a:lvl8pPr marL="1800338" indent="0" algn="ctr">
              <a:buNone/>
              <a:defRPr sz="900"/>
            </a:lvl8pPr>
            <a:lvl9pPr marL="2057529" indent="0" algn="ctr">
              <a:buNone/>
              <a:defRPr sz="900"/>
            </a:lvl9pPr>
          </a:lstStyle>
          <a:p>
            <a:r>
              <a:rPr lang="nb-NO"/>
              <a:t>Klikk for å redigere undertittelstil i malen</a:t>
            </a:r>
            <a:endParaRPr lang="en-US"/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3D24072B-B6FF-33A5-F001-083839A6FCBA}"/>
              </a:ext>
            </a:extLst>
          </p:cNvPr>
          <p:cNvSpPr>
            <a:spLocks noGrp="1" noChangeAspect="1"/>
          </p:cNvSpPr>
          <p:nvPr>
            <p:ph type="body" sz="quarter" idx="14" hasCustomPrompt="1"/>
          </p:nvPr>
        </p:nvSpPr>
        <p:spPr>
          <a:xfrm>
            <a:off x="287679" y="8800747"/>
            <a:ext cx="437443" cy="4108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 </a:t>
            </a:r>
            <a:endParaRPr lang="nb-NO"/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11C6341B-0390-9FFE-4315-EB68FF3A71E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87536" y="720020"/>
            <a:ext cx="4901570" cy="3086500"/>
          </a:xfrm>
        </p:spPr>
        <p:txBody>
          <a:bodyPr anchor="t"/>
          <a:lstStyle>
            <a:lvl1pPr algn="l">
              <a:lnSpc>
                <a:spcPct val="101000"/>
              </a:lnSpc>
              <a:defRPr sz="3938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en-US"/>
          </a:p>
        </p:txBody>
      </p:sp>
      <p:pic>
        <p:nvPicPr>
          <p:cNvPr id="2" name="Epinion logo">
            <a:extLst>
              <a:ext uri="{FF2B5EF4-FFF2-40B4-BE49-F238E27FC236}">
                <a16:creationId xmlns:a16="http://schemas.microsoft.com/office/drawing/2014/main" id="{C7D45C3F-BB77-3C57-B72D-E533EFB7E54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1531" y="8871909"/>
            <a:ext cx="450150" cy="348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4267401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ldekkende 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317A32F4-3C39-4899-421D-D7B920CCAFE6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0"/>
            <a:ext cx="6858000" cy="9906000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nb-NO"/>
              <a:t>Klikk på ikonet for å legge til et bilde</a:t>
            </a: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15688D38-C5FF-0765-1457-714B0380CAB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476244" y="8842144"/>
            <a:ext cx="1094221" cy="332374"/>
          </a:xfrm>
        </p:spPr>
        <p:txBody>
          <a:bodyPr anchor="b"/>
          <a:lstStyle>
            <a:lvl1pPr marL="0" indent="0" algn="r">
              <a:buNone/>
              <a:defRPr sz="45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err="1"/>
              <a:t>Foto</a:t>
            </a:r>
            <a:r>
              <a:rPr lang="en-US"/>
              <a:t>: </a:t>
            </a:r>
            <a:r>
              <a:rPr lang="en-US" err="1"/>
              <a:t>Navn</a:t>
            </a:r>
            <a:r>
              <a:rPr lang="en-US"/>
              <a:t> </a:t>
            </a:r>
            <a:r>
              <a:rPr lang="en-US" err="1"/>
              <a:t>Navnesen</a:t>
            </a:r>
            <a:endParaRPr lang="nb-NO"/>
          </a:p>
        </p:txBody>
      </p:sp>
      <p:sp>
        <p:nvSpPr>
          <p:cNvPr id="2" name="Text Placeholder 5">
            <a:extLst>
              <a:ext uri="{FF2B5EF4-FFF2-40B4-BE49-F238E27FC236}">
                <a16:creationId xmlns:a16="http://schemas.microsoft.com/office/drawing/2014/main" id="{6AEC1ADC-AE59-9664-C71D-1081ABAF653D}"/>
              </a:ext>
            </a:extLst>
          </p:cNvPr>
          <p:cNvSpPr>
            <a:spLocks noGrp="1" noChangeAspect="1"/>
          </p:cNvSpPr>
          <p:nvPr>
            <p:ph type="body" sz="quarter" idx="14" hasCustomPrompt="1"/>
          </p:nvPr>
        </p:nvSpPr>
        <p:spPr>
          <a:xfrm>
            <a:off x="287679" y="8800747"/>
            <a:ext cx="437443" cy="4108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 </a:t>
            </a:r>
            <a:endParaRPr lang="nb-NO"/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FA82D3F3-3D20-CD95-2F67-DA474DECDCC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21531" y="2937407"/>
            <a:ext cx="5209580" cy="3655131"/>
          </a:xfrm>
        </p:spPr>
        <p:txBody>
          <a:bodyPr anchor="ctr" anchorCtr="0"/>
          <a:lstStyle>
            <a:lvl1pPr algn="ctr">
              <a:lnSpc>
                <a:spcPct val="101000"/>
              </a:lnSpc>
              <a:defRPr sz="2250" b="1" i="0">
                <a:solidFill>
                  <a:schemeClr val="bg1"/>
                </a:solidFill>
                <a:latin typeface="Innovation Norway Semibold" panose="020B0500030000000000" pitchFamily="34" charset="77"/>
              </a:defRPr>
            </a:lvl1pPr>
          </a:lstStyle>
          <a:p>
            <a:r>
              <a:rPr lang="nb-NO"/>
              <a:t>Klikk for å redigere tittelsti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8271857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, tekst og fire ta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Text Placeholder 24">
            <a:extLst>
              <a:ext uri="{FF2B5EF4-FFF2-40B4-BE49-F238E27FC236}">
                <a16:creationId xmlns:a16="http://schemas.microsoft.com/office/drawing/2014/main" id="{3A72AAE6-966E-E9B0-C78F-F791A460FB1C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287537" y="2930525"/>
            <a:ext cx="2531567" cy="3662010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31" name="Text Placeholder 30">
            <a:extLst>
              <a:ext uri="{FF2B5EF4-FFF2-40B4-BE49-F238E27FC236}">
                <a16:creationId xmlns:a16="http://schemas.microsoft.com/office/drawing/2014/main" id="{19E4251C-7A4C-ADEF-232B-120129BE61CF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3499546" y="720020"/>
            <a:ext cx="3070919" cy="1850497"/>
          </a:xfrm>
          <a:prstGeom prst="roundRect">
            <a:avLst>
              <a:gd name="adj" fmla="val 4426"/>
            </a:avLst>
          </a:prstGeom>
          <a:solidFill>
            <a:srgbClr val="F2F2F2"/>
          </a:solidFill>
        </p:spPr>
        <p:txBody>
          <a:bodyPr lIns="1908000" tIns="0" rIns="324000" anchor="ctr"/>
          <a:lstStyle>
            <a:lvl1pPr marL="0" indent="0">
              <a:buNone/>
              <a:defRPr>
                <a:latin typeface="+mj-lt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33" name="Text Placeholder 32">
            <a:extLst>
              <a:ext uri="{FF2B5EF4-FFF2-40B4-BE49-F238E27FC236}">
                <a16:creationId xmlns:a16="http://schemas.microsoft.com/office/drawing/2014/main" id="{B39F9205-F12D-8FA9-A375-98E989EDDAE1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3651717" y="978938"/>
            <a:ext cx="578719" cy="1322728"/>
          </a:xfrm>
        </p:spPr>
        <p:txBody>
          <a:bodyPr anchor="ctr"/>
          <a:lstStyle>
            <a:lvl1pPr marL="0" indent="0" algn="ctr">
              <a:buNone/>
              <a:defRPr sz="2531" b="1"/>
            </a:lvl1pPr>
          </a:lstStyle>
          <a:p>
            <a:pPr lvl="0"/>
            <a:r>
              <a:rPr lang="en-US"/>
              <a:t>000</a:t>
            </a:r>
            <a:endParaRPr lang="nb-NO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CE851DCA-9416-DE9D-D6ED-8B508BD8933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87536" y="720020"/>
            <a:ext cx="3065562" cy="1896907"/>
          </a:xfrm>
        </p:spPr>
        <p:txBody>
          <a:bodyPr tIns="0" anchor="t"/>
          <a:lstStyle>
            <a:lvl1pPr algn="l">
              <a:lnSpc>
                <a:spcPct val="101000"/>
              </a:lnSpc>
              <a:defRPr sz="1350"/>
            </a:lvl1pPr>
          </a:lstStyle>
          <a:p>
            <a:r>
              <a:rPr lang="nb-NO"/>
              <a:t>Klikk for å redigere tittelstil</a:t>
            </a:r>
            <a:endParaRPr lang="en-US"/>
          </a:p>
        </p:txBody>
      </p:sp>
      <p:sp>
        <p:nvSpPr>
          <p:cNvPr id="2" name="Text Placeholder 30">
            <a:extLst>
              <a:ext uri="{FF2B5EF4-FFF2-40B4-BE49-F238E27FC236}">
                <a16:creationId xmlns:a16="http://schemas.microsoft.com/office/drawing/2014/main" id="{B4E02604-E4D2-43D7-CAE7-17E30ADE9B3C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3499546" y="2930527"/>
            <a:ext cx="3070919" cy="1850497"/>
          </a:xfrm>
          <a:prstGeom prst="roundRect">
            <a:avLst>
              <a:gd name="adj" fmla="val 4426"/>
            </a:avLst>
          </a:prstGeom>
          <a:solidFill>
            <a:srgbClr val="F2F2F2"/>
          </a:solidFill>
        </p:spPr>
        <p:txBody>
          <a:bodyPr lIns="1908000" tIns="0" rIns="324000" anchor="ctr"/>
          <a:lstStyle>
            <a:lvl1pPr marL="0" indent="0">
              <a:buNone/>
              <a:defRPr>
                <a:latin typeface="+mj-lt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3" name="Text Placeholder 32">
            <a:extLst>
              <a:ext uri="{FF2B5EF4-FFF2-40B4-BE49-F238E27FC236}">
                <a16:creationId xmlns:a16="http://schemas.microsoft.com/office/drawing/2014/main" id="{E40A343A-766E-B7F4-9BA8-BA908D012239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3651717" y="3189445"/>
            <a:ext cx="578719" cy="1322728"/>
          </a:xfrm>
        </p:spPr>
        <p:txBody>
          <a:bodyPr anchor="ctr"/>
          <a:lstStyle>
            <a:lvl1pPr marL="0" indent="0" algn="ctr">
              <a:buNone/>
              <a:defRPr sz="2531" b="1"/>
            </a:lvl1pPr>
          </a:lstStyle>
          <a:p>
            <a:pPr lvl="0"/>
            <a:r>
              <a:rPr lang="en-US"/>
              <a:t>000</a:t>
            </a:r>
            <a:endParaRPr lang="nb-NO"/>
          </a:p>
        </p:txBody>
      </p:sp>
      <p:sp>
        <p:nvSpPr>
          <p:cNvPr id="12" name="Text Placeholder 30">
            <a:extLst>
              <a:ext uri="{FF2B5EF4-FFF2-40B4-BE49-F238E27FC236}">
                <a16:creationId xmlns:a16="http://schemas.microsoft.com/office/drawing/2014/main" id="{2EB0E233-4DAC-B01E-AD1E-5DAF733BB75B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3499546" y="5127274"/>
            <a:ext cx="3070919" cy="1850497"/>
          </a:xfrm>
          <a:prstGeom prst="roundRect">
            <a:avLst>
              <a:gd name="adj" fmla="val 4426"/>
            </a:avLst>
          </a:prstGeom>
          <a:solidFill>
            <a:srgbClr val="F2F2F2"/>
          </a:solidFill>
        </p:spPr>
        <p:txBody>
          <a:bodyPr lIns="1908000" tIns="0" rIns="324000" anchor="ctr"/>
          <a:lstStyle>
            <a:lvl1pPr marL="0" indent="0">
              <a:buNone/>
              <a:defRPr>
                <a:latin typeface="+mj-lt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3" name="Text Placeholder 32">
            <a:extLst>
              <a:ext uri="{FF2B5EF4-FFF2-40B4-BE49-F238E27FC236}">
                <a16:creationId xmlns:a16="http://schemas.microsoft.com/office/drawing/2014/main" id="{1D4249A7-B1AD-D495-407B-1A86DB7C6D45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3651717" y="5386191"/>
            <a:ext cx="578719" cy="1322728"/>
          </a:xfrm>
        </p:spPr>
        <p:txBody>
          <a:bodyPr anchor="ctr"/>
          <a:lstStyle>
            <a:lvl1pPr marL="0" indent="0" algn="ctr">
              <a:buNone/>
              <a:defRPr sz="2531" b="1"/>
            </a:lvl1pPr>
          </a:lstStyle>
          <a:p>
            <a:pPr lvl="0"/>
            <a:r>
              <a:rPr lang="en-US"/>
              <a:t>000</a:t>
            </a:r>
            <a:endParaRPr lang="nb-NO"/>
          </a:p>
        </p:txBody>
      </p:sp>
      <p:sp>
        <p:nvSpPr>
          <p:cNvPr id="14" name="Text Placeholder 30">
            <a:extLst>
              <a:ext uri="{FF2B5EF4-FFF2-40B4-BE49-F238E27FC236}">
                <a16:creationId xmlns:a16="http://schemas.microsoft.com/office/drawing/2014/main" id="{4943D281-5A44-691B-EBDD-D08AA4CE7011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3499546" y="7344660"/>
            <a:ext cx="3070919" cy="1850497"/>
          </a:xfrm>
          <a:prstGeom prst="roundRect">
            <a:avLst>
              <a:gd name="adj" fmla="val 4426"/>
            </a:avLst>
          </a:prstGeom>
          <a:solidFill>
            <a:srgbClr val="F2F2F2"/>
          </a:solidFill>
        </p:spPr>
        <p:txBody>
          <a:bodyPr lIns="1908000" tIns="0" rIns="324000" anchor="ctr"/>
          <a:lstStyle>
            <a:lvl1pPr marL="0" indent="0">
              <a:buNone/>
              <a:defRPr>
                <a:latin typeface="+mj-lt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5" name="Text Placeholder 32">
            <a:extLst>
              <a:ext uri="{FF2B5EF4-FFF2-40B4-BE49-F238E27FC236}">
                <a16:creationId xmlns:a16="http://schemas.microsoft.com/office/drawing/2014/main" id="{E3E73278-4CE4-CA27-E5F3-9303C9C64BD5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3651717" y="7603578"/>
            <a:ext cx="578719" cy="1322728"/>
          </a:xfrm>
        </p:spPr>
        <p:txBody>
          <a:bodyPr anchor="ctr"/>
          <a:lstStyle>
            <a:lvl1pPr marL="0" indent="0" algn="ctr">
              <a:buNone/>
              <a:defRPr sz="2531" b="1"/>
            </a:lvl1pPr>
          </a:lstStyle>
          <a:p>
            <a:pPr lvl="0"/>
            <a:r>
              <a:rPr lang="en-US"/>
              <a:t>000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03727578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seks ta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">
            <a:extLst>
              <a:ext uri="{FF2B5EF4-FFF2-40B4-BE49-F238E27FC236}">
                <a16:creationId xmlns:a16="http://schemas.microsoft.com/office/drawing/2014/main" id="{FE80A22C-827E-26DE-7A45-17154C62868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87537" y="720021"/>
            <a:ext cx="6282928" cy="1487550"/>
          </a:xfrm>
        </p:spPr>
        <p:txBody>
          <a:bodyPr tIns="0" anchor="t"/>
          <a:lstStyle>
            <a:lvl1pPr algn="l">
              <a:lnSpc>
                <a:spcPct val="101000"/>
              </a:lnSpc>
              <a:defRPr sz="1350"/>
            </a:lvl1pPr>
          </a:lstStyle>
          <a:p>
            <a:r>
              <a:rPr lang="nb-NO"/>
              <a:t>Klikk for å redigere tittelstil</a:t>
            </a:r>
            <a:endParaRPr lang="en-US"/>
          </a:p>
        </p:txBody>
      </p:sp>
      <p:sp>
        <p:nvSpPr>
          <p:cNvPr id="2" name="Text Placeholder 30">
            <a:extLst>
              <a:ext uri="{FF2B5EF4-FFF2-40B4-BE49-F238E27FC236}">
                <a16:creationId xmlns:a16="http://schemas.microsoft.com/office/drawing/2014/main" id="{F8B8F535-8017-A60D-5BD8-F3FD807D962E}"/>
              </a:ext>
            </a:extLst>
          </p:cNvPr>
          <p:cNvSpPr>
            <a:spLocks noGrp="1"/>
          </p:cNvSpPr>
          <p:nvPr>
            <p:ph type="body" sz="quarter" idx="46"/>
          </p:nvPr>
        </p:nvSpPr>
        <p:spPr>
          <a:xfrm>
            <a:off x="3499546" y="2930527"/>
            <a:ext cx="3070919" cy="1850497"/>
          </a:xfrm>
          <a:prstGeom prst="roundRect">
            <a:avLst>
              <a:gd name="adj" fmla="val 4426"/>
            </a:avLst>
          </a:prstGeom>
          <a:solidFill>
            <a:srgbClr val="F2F2F2"/>
          </a:solidFill>
        </p:spPr>
        <p:txBody>
          <a:bodyPr lIns="1908000" tIns="0" rIns="324000" anchor="ctr"/>
          <a:lstStyle>
            <a:lvl1pPr marL="0" indent="0">
              <a:buNone/>
              <a:defRPr>
                <a:latin typeface="+mj-lt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3" name="Text Placeholder 32">
            <a:extLst>
              <a:ext uri="{FF2B5EF4-FFF2-40B4-BE49-F238E27FC236}">
                <a16:creationId xmlns:a16="http://schemas.microsoft.com/office/drawing/2014/main" id="{9DB70709-CF70-8D1A-E1D8-4BB6539DA3AD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3651717" y="3189445"/>
            <a:ext cx="578719" cy="1322728"/>
          </a:xfrm>
        </p:spPr>
        <p:txBody>
          <a:bodyPr anchor="ctr"/>
          <a:lstStyle>
            <a:lvl1pPr marL="0" indent="0" algn="ctr">
              <a:buNone/>
              <a:defRPr sz="2531" b="1"/>
            </a:lvl1pPr>
          </a:lstStyle>
          <a:p>
            <a:pPr lvl="0"/>
            <a:r>
              <a:rPr lang="en-US"/>
              <a:t>000</a:t>
            </a:r>
            <a:endParaRPr lang="nb-NO"/>
          </a:p>
        </p:txBody>
      </p:sp>
      <p:sp>
        <p:nvSpPr>
          <p:cNvPr id="4" name="Text Placeholder 30">
            <a:extLst>
              <a:ext uri="{FF2B5EF4-FFF2-40B4-BE49-F238E27FC236}">
                <a16:creationId xmlns:a16="http://schemas.microsoft.com/office/drawing/2014/main" id="{5461A5B4-C1F3-4931-C89E-B4F7DDE5DD50}"/>
              </a:ext>
            </a:extLst>
          </p:cNvPr>
          <p:cNvSpPr>
            <a:spLocks noGrp="1"/>
          </p:cNvSpPr>
          <p:nvPr>
            <p:ph type="body" sz="quarter" idx="48"/>
          </p:nvPr>
        </p:nvSpPr>
        <p:spPr>
          <a:xfrm>
            <a:off x="3499546" y="5127274"/>
            <a:ext cx="3070919" cy="1850497"/>
          </a:xfrm>
          <a:prstGeom prst="roundRect">
            <a:avLst>
              <a:gd name="adj" fmla="val 4426"/>
            </a:avLst>
          </a:prstGeom>
          <a:solidFill>
            <a:srgbClr val="F2F2F2"/>
          </a:solidFill>
        </p:spPr>
        <p:txBody>
          <a:bodyPr lIns="1908000" tIns="0" rIns="324000" anchor="ctr"/>
          <a:lstStyle>
            <a:lvl1pPr marL="0" indent="0">
              <a:buNone/>
              <a:defRPr>
                <a:latin typeface="+mj-lt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9" name="Text Placeholder 32">
            <a:extLst>
              <a:ext uri="{FF2B5EF4-FFF2-40B4-BE49-F238E27FC236}">
                <a16:creationId xmlns:a16="http://schemas.microsoft.com/office/drawing/2014/main" id="{42E8DF23-9F5F-7426-8476-BCC80937D0EB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3651717" y="5386191"/>
            <a:ext cx="578719" cy="1322728"/>
          </a:xfrm>
        </p:spPr>
        <p:txBody>
          <a:bodyPr anchor="ctr"/>
          <a:lstStyle>
            <a:lvl1pPr marL="0" indent="0" algn="ctr">
              <a:buNone/>
              <a:defRPr sz="2531" b="1"/>
            </a:lvl1pPr>
          </a:lstStyle>
          <a:p>
            <a:pPr lvl="0"/>
            <a:r>
              <a:rPr lang="en-US"/>
              <a:t>000</a:t>
            </a:r>
            <a:endParaRPr lang="nb-NO"/>
          </a:p>
        </p:txBody>
      </p:sp>
      <p:sp>
        <p:nvSpPr>
          <p:cNvPr id="12" name="Text Placeholder 30">
            <a:extLst>
              <a:ext uri="{FF2B5EF4-FFF2-40B4-BE49-F238E27FC236}">
                <a16:creationId xmlns:a16="http://schemas.microsoft.com/office/drawing/2014/main" id="{4E508A24-CBE0-F413-EE88-EA9CF620B838}"/>
              </a:ext>
            </a:extLst>
          </p:cNvPr>
          <p:cNvSpPr>
            <a:spLocks noGrp="1"/>
          </p:cNvSpPr>
          <p:nvPr>
            <p:ph type="body" sz="quarter" idx="52"/>
          </p:nvPr>
        </p:nvSpPr>
        <p:spPr>
          <a:xfrm>
            <a:off x="287537" y="2930527"/>
            <a:ext cx="3070919" cy="1850497"/>
          </a:xfrm>
          <a:prstGeom prst="roundRect">
            <a:avLst>
              <a:gd name="adj" fmla="val 4426"/>
            </a:avLst>
          </a:prstGeom>
          <a:solidFill>
            <a:srgbClr val="F2F2F2"/>
          </a:solidFill>
        </p:spPr>
        <p:txBody>
          <a:bodyPr lIns="1908000" tIns="0" rIns="324000" anchor="ctr"/>
          <a:lstStyle>
            <a:lvl1pPr marL="0" indent="0">
              <a:buNone/>
              <a:defRPr>
                <a:latin typeface="+mj-lt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4" name="Text Placeholder 32">
            <a:extLst>
              <a:ext uri="{FF2B5EF4-FFF2-40B4-BE49-F238E27FC236}">
                <a16:creationId xmlns:a16="http://schemas.microsoft.com/office/drawing/2014/main" id="{1F073CBE-62E5-9B58-8921-66F3E1ECD0FB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439710" y="3189445"/>
            <a:ext cx="578719" cy="1322728"/>
          </a:xfrm>
        </p:spPr>
        <p:txBody>
          <a:bodyPr anchor="ctr"/>
          <a:lstStyle>
            <a:lvl1pPr marL="0" indent="0" algn="ctr">
              <a:buNone/>
              <a:defRPr sz="2531" b="1"/>
            </a:lvl1pPr>
          </a:lstStyle>
          <a:p>
            <a:pPr lvl="0"/>
            <a:r>
              <a:rPr lang="en-US"/>
              <a:t>000</a:t>
            </a:r>
            <a:endParaRPr lang="nb-NO"/>
          </a:p>
        </p:txBody>
      </p:sp>
      <p:sp>
        <p:nvSpPr>
          <p:cNvPr id="15" name="Text Placeholder 30">
            <a:extLst>
              <a:ext uri="{FF2B5EF4-FFF2-40B4-BE49-F238E27FC236}">
                <a16:creationId xmlns:a16="http://schemas.microsoft.com/office/drawing/2014/main" id="{5B69558B-B103-62F7-0C9F-35C2CD5B5B78}"/>
              </a:ext>
            </a:extLst>
          </p:cNvPr>
          <p:cNvSpPr>
            <a:spLocks noGrp="1"/>
          </p:cNvSpPr>
          <p:nvPr>
            <p:ph type="body" sz="quarter" idx="54"/>
          </p:nvPr>
        </p:nvSpPr>
        <p:spPr>
          <a:xfrm>
            <a:off x="287537" y="5127274"/>
            <a:ext cx="3070919" cy="1850497"/>
          </a:xfrm>
          <a:prstGeom prst="roundRect">
            <a:avLst>
              <a:gd name="adj" fmla="val 4426"/>
            </a:avLst>
          </a:prstGeom>
          <a:solidFill>
            <a:srgbClr val="F2F2F2"/>
          </a:solidFill>
        </p:spPr>
        <p:txBody>
          <a:bodyPr lIns="1908000" tIns="0" rIns="324000" anchor="ctr"/>
          <a:lstStyle>
            <a:lvl1pPr marL="0" indent="0">
              <a:buNone/>
              <a:defRPr>
                <a:latin typeface="+mj-lt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6" name="Text Placeholder 32">
            <a:extLst>
              <a:ext uri="{FF2B5EF4-FFF2-40B4-BE49-F238E27FC236}">
                <a16:creationId xmlns:a16="http://schemas.microsoft.com/office/drawing/2014/main" id="{32573DEC-FA06-967E-282E-EF884000ABDA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439710" y="5386191"/>
            <a:ext cx="578719" cy="1322728"/>
          </a:xfrm>
        </p:spPr>
        <p:txBody>
          <a:bodyPr anchor="ctr"/>
          <a:lstStyle>
            <a:lvl1pPr marL="0" indent="0" algn="ctr">
              <a:buNone/>
              <a:defRPr sz="2531" b="1"/>
            </a:lvl1pPr>
          </a:lstStyle>
          <a:p>
            <a:pPr lvl="0"/>
            <a:r>
              <a:rPr lang="en-US"/>
              <a:t>000</a:t>
            </a:r>
            <a:endParaRPr lang="nb-NO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42D8E77-F044-D19C-C293-53F0C9AC2E7B}"/>
              </a:ext>
            </a:extLst>
          </p:cNvPr>
          <p:cNvSpPr>
            <a:spLocks noGrp="1"/>
          </p:cNvSpPr>
          <p:nvPr>
            <p:ph type="ftr" sz="quarter" idx="56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FFD8A14-A41E-75B5-D55D-752C1A0C1878}"/>
              </a:ext>
            </a:extLst>
          </p:cNvPr>
          <p:cNvSpPr>
            <a:spLocks noGrp="1"/>
          </p:cNvSpPr>
          <p:nvPr>
            <p:ph type="sldNum" sz="quarter" idx="57"/>
          </p:nvPr>
        </p:nvSpPr>
        <p:spPr/>
        <p:txBody>
          <a:bodyPr/>
          <a:lstStyle/>
          <a:p>
            <a:fld id="{57121188-AE7A-48EF-BF71-B58977C188BC}" type="slidenum">
              <a:rPr lang="nb-NO" smtClean="0"/>
              <a:pPr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588939766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stort ta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9AF6255C-FEAA-D8A4-A63B-2774C074BC7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891308" y="5498749"/>
            <a:ext cx="4679156" cy="4607632"/>
          </a:xfrm>
        </p:spPr>
        <p:txBody>
          <a:bodyPr wrap="none" tIns="0" bIns="0" anchor="b"/>
          <a:lstStyle>
            <a:lvl1pPr marL="0" indent="0" algn="r">
              <a:lnSpc>
                <a:spcPct val="98000"/>
              </a:lnSpc>
              <a:spcBef>
                <a:spcPts val="0"/>
              </a:spcBef>
              <a:buNone/>
              <a:defRPr sz="11252" b="1"/>
            </a:lvl1pPr>
          </a:lstStyle>
          <a:p>
            <a:pPr lvl="0"/>
            <a:r>
              <a:rPr lang="en-US"/>
              <a:t>00</a:t>
            </a:r>
            <a:endParaRPr lang="nb-NO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51C7DF56-384D-D2AD-34E9-57924CD7A81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87536" y="740822"/>
            <a:ext cx="4897924" cy="2921191"/>
          </a:xfrm>
        </p:spPr>
        <p:txBody>
          <a:bodyPr anchor="t"/>
          <a:lstStyle>
            <a:lvl1pPr algn="l">
              <a:lnSpc>
                <a:spcPct val="101000"/>
              </a:lnSpc>
              <a:defRPr sz="2250"/>
            </a:lvl1pPr>
          </a:lstStyle>
          <a:p>
            <a:r>
              <a:rPr lang="nb-NO"/>
              <a:t>Klikk for å redigere tittelsti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2095384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tat sto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56FBE95-36BF-0214-DEFE-4BE75A0D54C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21531" y="6968597"/>
            <a:ext cx="5209580" cy="752122"/>
          </a:xfrm>
        </p:spPr>
        <p:txBody>
          <a:bodyPr/>
          <a:lstStyle>
            <a:lvl1pPr marL="0" indent="0" algn="ctr">
              <a:buNone/>
              <a:defRPr sz="675"/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52FF6B42-B9B2-8FF5-C5CB-D278EC3FD23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21531" y="2937407"/>
            <a:ext cx="5209580" cy="3655131"/>
          </a:xfrm>
        </p:spPr>
        <p:txBody>
          <a:bodyPr anchor="ctr" anchorCtr="0"/>
          <a:lstStyle>
            <a:lvl1pPr algn="ctr">
              <a:lnSpc>
                <a:spcPct val="101000"/>
              </a:lnSpc>
              <a:defRPr sz="1688" b="1" i="0">
                <a:latin typeface="Innovation Norway Semibold" panose="020B0500030000000000" pitchFamily="34" charset="77"/>
              </a:defRPr>
            </a:lvl1pPr>
          </a:lstStyle>
          <a:p>
            <a:r>
              <a:rPr lang="nb-NO"/>
              <a:t>Klikk for å redigere tittelstil</a:t>
            </a:r>
            <a:endParaRPr lang="en-US"/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0653F1C0-7193-17AB-F3CA-AC2D617EAD4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246407" y="1759738"/>
            <a:ext cx="365189" cy="8107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65334638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tat 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23965295-A054-614A-E6C6-45C50DF480F9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286250" y="0"/>
            <a:ext cx="2571750" cy="9906000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nb-NO"/>
              <a:t>Klikk på ikonet for å legge til et bild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5A1153C6-C51D-C86B-21E7-16701832C4FF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21531" y="6964010"/>
            <a:ext cx="2531567" cy="380649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75">
                <a:latin typeface="+mn-lt"/>
              </a:defRPr>
            </a:lvl1pPr>
            <a:lvl2pPr marL="257191" indent="0">
              <a:buNone/>
              <a:defRPr sz="1125">
                <a:latin typeface="+mj-lt"/>
              </a:defRPr>
            </a:lvl2pPr>
            <a:lvl3pPr marL="514383" indent="0">
              <a:buNone/>
              <a:defRPr sz="1125">
                <a:latin typeface="+mj-lt"/>
              </a:defRPr>
            </a:lvl3pPr>
            <a:lvl4pPr marL="771573" indent="0">
              <a:buNone/>
              <a:defRPr sz="1125">
                <a:latin typeface="+mj-lt"/>
              </a:defRPr>
            </a:lvl4pPr>
            <a:lvl5pPr marL="1028765" indent="0">
              <a:buNone/>
              <a:defRPr sz="1125">
                <a:latin typeface="+mj-lt"/>
              </a:defRPr>
            </a:lvl5pPr>
          </a:lstStyle>
          <a:p>
            <a:pPr lvl="0"/>
            <a:r>
              <a:rPr lang="en-US"/>
              <a:t>Heading</a:t>
            </a:r>
            <a:endParaRPr lang="nb-NO"/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1599FFD1-90F6-5B3D-911A-9B3E329AA2B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432228" y="8842144"/>
            <a:ext cx="2142278" cy="332374"/>
          </a:xfrm>
        </p:spPr>
        <p:txBody>
          <a:bodyPr anchor="b"/>
          <a:lstStyle>
            <a:lvl1pPr marL="0" indent="0" algn="r">
              <a:buNone/>
              <a:defRPr sz="45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err="1"/>
              <a:t>Foto</a:t>
            </a:r>
            <a:r>
              <a:rPr lang="en-US"/>
              <a:t>:  </a:t>
            </a:r>
            <a:r>
              <a:rPr lang="en-US" err="1"/>
              <a:t>Navn</a:t>
            </a:r>
            <a:r>
              <a:rPr lang="en-US"/>
              <a:t> </a:t>
            </a:r>
            <a:r>
              <a:rPr lang="en-US" err="1"/>
              <a:t>Navnesen</a:t>
            </a:r>
            <a:endParaRPr lang="nb-NO"/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4D73C596-9EB4-F7ED-C55C-F01A8003854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87536" y="2941992"/>
            <a:ext cx="3600450" cy="3662009"/>
          </a:xfrm>
        </p:spPr>
        <p:txBody>
          <a:bodyPr anchor="ctr"/>
          <a:lstStyle>
            <a:lvl1pPr algn="ctr">
              <a:lnSpc>
                <a:spcPct val="101000"/>
              </a:lnSpc>
              <a:defRPr sz="1406" b="1" i="0">
                <a:latin typeface="Innovation Norway Semibold" panose="020B0500030000000000" pitchFamily="34" charset="77"/>
              </a:defRPr>
            </a:lvl1pPr>
          </a:lstStyle>
          <a:p>
            <a:r>
              <a:rPr lang="nb-NO"/>
              <a:t>Klikk for å redigere tittelstil</a:t>
            </a:r>
            <a:endParaRPr lang="en-US"/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B97EB678-0AC6-4432-9ECF-C782DAB1130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904720" y="1453797"/>
            <a:ext cx="365189" cy="8107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67288481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15663292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E02E6975-B680-1B92-9973-D5AAA049D00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893" y="2294"/>
          <a:ext cx="893" cy="22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38" imgH="338" progId="TCLayout.ActiveDocument.1">
                  <p:embed/>
                </p:oleObj>
              </mc:Choice>
              <mc:Fallback>
                <p:oleObj name="think-cell Slide" r:id="rId3" imgW="338" imgH="338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E02E6975-B680-1B92-9973-D5AAA049D00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893" y="2294"/>
                        <a:ext cx="893" cy="229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Headline">
            <a:extLst>
              <a:ext uri="{FF2B5EF4-FFF2-40B4-BE49-F238E27FC236}">
                <a16:creationId xmlns:a16="http://schemas.microsoft.com/office/drawing/2014/main" id="{273EBB05-C2B7-43DF-9D45-00491AD4294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29494" y="343960"/>
            <a:ext cx="6399014" cy="121252"/>
          </a:xfrm>
        </p:spPr>
        <p:txBody>
          <a:bodyPr lIns="0" tIns="0" rIns="0" bIns="0">
            <a:spAutoFit/>
          </a:bodyPr>
          <a:lstStyle>
            <a:lvl1pPr marL="0" indent="0">
              <a:buNone/>
              <a:defRPr sz="788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/>
              <a:t>Topic headline – Arial – 14pt – Epinion Red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2039995-8FDE-4644-A620-C912E22786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29494" y="695957"/>
            <a:ext cx="6399014" cy="378693"/>
          </a:xfrm>
        </p:spPr>
        <p:txBody>
          <a:bodyPr vert="horz">
            <a:spAutoFit/>
          </a:bodyPr>
          <a:lstStyle>
            <a:lvl1pPr>
              <a:defRPr sz="1238"/>
            </a:lvl1pPr>
          </a:lstStyle>
          <a:p>
            <a:r>
              <a:rPr lang="en-US"/>
              <a:t>Action title – 22pt – Arial – Bold – Dark Blue</a:t>
            </a:r>
            <a:br>
              <a:rPr lang="en-US"/>
            </a:br>
            <a:r>
              <a:rPr lang="en-US"/>
              <a:t>Maximum two lines</a:t>
            </a:r>
            <a:endParaRPr lang="en-IN"/>
          </a:p>
        </p:txBody>
      </p:sp>
      <p:sp>
        <p:nvSpPr>
          <p:cNvPr id="5" name="Content Placeholder">
            <a:extLst>
              <a:ext uri="{FF2B5EF4-FFF2-40B4-BE49-F238E27FC236}">
                <a16:creationId xmlns:a16="http://schemas.microsoft.com/office/drawing/2014/main" id="{B23A41AF-6E06-478C-A822-13971F58F1B7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229494" y="2095853"/>
            <a:ext cx="6399014" cy="6810375"/>
          </a:xfrm>
        </p:spPr>
        <p:txBody>
          <a:bodyPr lIns="0" tIns="0" rIns="0" bIns="0">
            <a:noAutofit/>
          </a:bodyPr>
          <a:lstStyle>
            <a:lvl1pPr marL="81001" indent="-81001">
              <a:lnSpc>
                <a:spcPct val="110000"/>
              </a:lnSpc>
              <a:spcAft>
                <a:spcPts val="338"/>
              </a:spcAft>
              <a:buFont typeface="Arial" pitchFamily="34" charset="0"/>
              <a:buChar char="•"/>
              <a:defRPr sz="619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162002" indent="-81001">
              <a:lnSpc>
                <a:spcPct val="110000"/>
              </a:lnSpc>
              <a:spcBef>
                <a:spcPct val="0"/>
              </a:spcBef>
              <a:spcAft>
                <a:spcPts val="338"/>
              </a:spcAft>
              <a:buClr>
                <a:schemeClr val="tx2"/>
              </a:buClr>
              <a:buFont typeface="Arial" pitchFamily="34" charset="0"/>
              <a:buChar char="•"/>
              <a:defRPr sz="619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243003" indent="-81001">
              <a:lnSpc>
                <a:spcPct val="110000"/>
              </a:lnSpc>
              <a:spcBef>
                <a:spcPct val="0"/>
              </a:spcBef>
              <a:spcAft>
                <a:spcPts val="338"/>
              </a:spcAft>
              <a:buClr>
                <a:schemeClr val="tx2"/>
              </a:buClr>
              <a:buFont typeface="Arial" pitchFamily="34" charset="0"/>
              <a:buChar char="•"/>
              <a:defRPr sz="619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900124" indent="-128590">
              <a:lnSpc>
                <a:spcPct val="110000"/>
              </a:lnSpc>
              <a:spcAft>
                <a:spcPts val="338"/>
              </a:spcAft>
              <a:buFont typeface="Arial" pitchFamily="34" charset="0"/>
              <a:buChar char="•"/>
              <a:defRPr sz="619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1157303" indent="-128590">
              <a:lnSpc>
                <a:spcPct val="110000"/>
              </a:lnSpc>
              <a:spcAft>
                <a:spcPts val="338"/>
              </a:spcAft>
              <a:buFont typeface="Arial" pitchFamily="34" charset="0"/>
              <a:buChar char="•"/>
              <a:defRPr sz="619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0" name="Slide Number Placeholder">
            <a:extLst>
              <a:ext uri="{FF2B5EF4-FFF2-40B4-BE49-F238E27FC236}">
                <a16:creationId xmlns:a16="http://schemas.microsoft.com/office/drawing/2014/main" id="{DAC71521-BF6D-4E18-8F4E-E2FB43D37B6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35145" y="9481153"/>
            <a:ext cx="274141" cy="69250"/>
          </a:xfrm>
          <a:prstGeom prst="rect">
            <a:avLst/>
          </a:prstGeom>
        </p:spPr>
        <p:txBody>
          <a:bodyPr vert="horz" lIns="0" tIns="0" rIns="0" bIns="0" rtlCol="0" anchor="b">
            <a:spAutoFit/>
          </a:bodyPr>
          <a:lstStyle>
            <a:lvl1pPr algn="l">
              <a:defRPr sz="450">
                <a:solidFill>
                  <a:schemeClr val="tx1"/>
                </a:solidFill>
              </a:defRPr>
            </a:lvl1pPr>
          </a:lstStyle>
          <a:p>
            <a:fld id="{92103799-4748-4C4F-A17A-6CEDBDE457E7}" type="slidenum">
              <a:rPr lang="en-IN" smtClean="0"/>
              <a:t>‹#›</a:t>
            </a:fld>
            <a:endParaRPr lang="en-IN"/>
          </a:p>
        </p:txBody>
      </p:sp>
      <p:sp>
        <p:nvSpPr>
          <p:cNvPr id="3" name="Footer Placeholder">
            <a:extLst>
              <a:ext uri="{FF2B5EF4-FFF2-40B4-BE49-F238E27FC236}">
                <a16:creationId xmlns:a16="http://schemas.microsoft.com/office/drawing/2014/main" id="{1896D570-576D-4DCE-B757-CAE101CA585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2425303" y="9095498"/>
            <a:ext cx="3605807" cy="69250"/>
          </a:xfrm>
        </p:spPr>
        <p:txBody>
          <a:bodyPr>
            <a:spAutoFit/>
          </a:bodyPr>
          <a:lstStyle/>
          <a:p>
            <a:endParaRPr lang="en-IN"/>
          </a:p>
        </p:txBody>
      </p:sp>
      <p:sp>
        <p:nvSpPr>
          <p:cNvPr id="8" name="Footer Placeholder">
            <a:extLst>
              <a:ext uri="{FF2B5EF4-FFF2-40B4-BE49-F238E27FC236}">
                <a16:creationId xmlns:a16="http://schemas.microsoft.com/office/drawing/2014/main" id="{F387844F-7F49-4150-8B81-54753952F459}"/>
              </a:ext>
            </a:extLst>
          </p:cNvPr>
          <p:cNvSpPr txBox="1"/>
          <p:nvPr userDrawn="1"/>
        </p:nvSpPr>
        <p:spPr>
          <a:xfrm>
            <a:off x="531778" y="9481152"/>
            <a:ext cx="5353856" cy="69250"/>
          </a:xfrm>
          <a:prstGeom prst="rect">
            <a:avLst/>
          </a:prstGeom>
        </p:spPr>
        <p:txBody>
          <a:bodyPr vert="horz" lIns="0" tIns="0" rIns="0" bIns="0" rtlCol="0" anchor="b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en-GB" sz="450"/>
              <a:t>© Copyright Epinion</a:t>
            </a:r>
          </a:p>
        </p:txBody>
      </p:sp>
    </p:spTree>
    <p:extLst>
      <p:ext uri="{BB962C8B-B14F-4D97-AF65-F5344CB8AC3E}">
        <p14:creationId xmlns:p14="http://schemas.microsoft.com/office/powerpoint/2010/main" val="1726441536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/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eneral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82039995-8FDE-4644-A620-C912E22786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29494" y="695959"/>
            <a:ext cx="6399014" cy="929643"/>
          </a:xfrm>
        </p:spPr>
        <p:txBody>
          <a:bodyPr/>
          <a:lstStyle>
            <a:lvl1pPr>
              <a:defRPr sz="1238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Action title – 22pt – Arial – Bold – Dark Blue</a:t>
            </a:r>
            <a:br>
              <a:rPr lang="en-US"/>
            </a:br>
            <a:r>
              <a:rPr lang="en-US"/>
              <a:t>Maximum two lines</a:t>
            </a:r>
            <a:endParaRPr lang="en-IN"/>
          </a:p>
        </p:txBody>
      </p:sp>
      <p:sp>
        <p:nvSpPr>
          <p:cNvPr id="5" name="Content Placeholder">
            <a:extLst>
              <a:ext uri="{FF2B5EF4-FFF2-40B4-BE49-F238E27FC236}">
                <a16:creationId xmlns:a16="http://schemas.microsoft.com/office/drawing/2014/main" id="{B23A41AF-6E06-478C-A822-13971F58F1B7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229494" y="2095853"/>
            <a:ext cx="6399014" cy="6810375"/>
          </a:xfrm>
        </p:spPr>
        <p:txBody>
          <a:bodyPr lIns="0" tIns="0" rIns="0" bIns="0">
            <a:noAutofit/>
          </a:bodyPr>
          <a:lstStyle>
            <a:lvl1pPr marL="81001" indent="-81001">
              <a:lnSpc>
                <a:spcPct val="110000"/>
              </a:lnSpc>
              <a:spcAft>
                <a:spcPts val="338"/>
              </a:spcAft>
              <a:buFont typeface="Arial" pitchFamily="34" charset="0"/>
              <a:buChar char="•"/>
              <a:defRPr sz="619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162002" indent="-81001">
              <a:lnSpc>
                <a:spcPct val="110000"/>
              </a:lnSpc>
              <a:spcBef>
                <a:spcPct val="0"/>
              </a:spcBef>
              <a:spcAft>
                <a:spcPts val="338"/>
              </a:spcAft>
              <a:buClr>
                <a:schemeClr val="tx2"/>
              </a:buClr>
              <a:buFont typeface="Arial" pitchFamily="34" charset="0"/>
              <a:buChar char="•"/>
              <a:defRPr sz="619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243003" indent="-81001">
              <a:lnSpc>
                <a:spcPct val="110000"/>
              </a:lnSpc>
              <a:spcBef>
                <a:spcPct val="0"/>
              </a:spcBef>
              <a:spcAft>
                <a:spcPts val="338"/>
              </a:spcAft>
              <a:buClr>
                <a:schemeClr val="tx2"/>
              </a:buClr>
              <a:buFont typeface="Arial" pitchFamily="34" charset="0"/>
              <a:buChar char="•"/>
              <a:defRPr sz="619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900124" indent="-128590">
              <a:lnSpc>
                <a:spcPct val="110000"/>
              </a:lnSpc>
              <a:spcAft>
                <a:spcPts val="338"/>
              </a:spcAft>
              <a:buFont typeface="Arial" pitchFamily="34" charset="0"/>
              <a:buChar char="•"/>
              <a:defRPr sz="619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1157303" indent="-128590">
              <a:lnSpc>
                <a:spcPct val="110000"/>
              </a:lnSpc>
              <a:spcAft>
                <a:spcPts val="338"/>
              </a:spcAft>
              <a:buFont typeface="Arial" pitchFamily="34" charset="0"/>
              <a:buChar char="•"/>
              <a:defRPr sz="619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3" name="Footer Placeholder">
            <a:extLst>
              <a:ext uri="{FF2B5EF4-FFF2-40B4-BE49-F238E27FC236}">
                <a16:creationId xmlns:a16="http://schemas.microsoft.com/office/drawing/2014/main" id="{1896D570-576D-4DCE-B757-CAE101CA585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latin typeface="Arial" pitchFamily="34" charset="0"/>
                <a:cs typeface="Arial" pitchFamily="34" charset="0"/>
              </a:defRPr>
            </a:lvl1pPr>
          </a:lstStyle>
          <a:p>
            <a:endParaRPr lang="en-IN"/>
          </a:p>
        </p:txBody>
      </p:sp>
      <p:sp>
        <p:nvSpPr>
          <p:cNvPr id="7" name="Headline">
            <a:extLst>
              <a:ext uri="{FF2B5EF4-FFF2-40B4-BE49-F238E27FC236}">
                <a16:creationId xmlns:a16="http://schemas.microsoft.com/office/drawing/2014/main" id="{273EBB05-C2B7-43DF-9D45-00491AD4294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29494" y="343960"/>
            <a:ext cx="6399014" cy="364000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sz="788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noProof="0"/>
              <a:t>Topic headline – Arial – 14pt – Epinion Red</a:t>
            </a:r>
          </a:p>
        </p:txBody>
      </p:sp>
      <p:sp>
        <p:nvSpPr>
          <p:cNvPr id="10" name="Slide Number Placeholder">
            <a:extLst>
              <a:ext uri="{FF2B5EF4-FFF2-40B4-BE49-F238E27FC236}">
                <a16:creationId xmlns:a16="http://schemas.microsoft.com/office/drawing/2014/main" id="{DAC71521-BF6D-4E18-8F4E-E2FB43D37B6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35145" y="9330266"/>
            <a:ext cx="274141" cy="220136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45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92103799-4748-4C4F-A17A-6CEDBDE457E7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624087733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/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FB4D355A-1BBB-4A62-A7A0-134168E4F78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893" y="2294"/>
          <a:ext cx="893" cy="22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38" imgH="338" progId="TCLayout.ActiveDocument.1">
                  <p:embed/>
                </p:oleObj>
              </mc:Choice>
              <mc:Fallback>
                <p:oleObj name="think-cell Slide" r:id="rId4" imgW="338" imgH="338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FB4D355A-1BBB-4A62-A7A0-134168E4F78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893" y="2294"/>
                        <a:ext cx="893" cy="229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7BBE0E8A-FB61-4CB1-BC00-A9D303EEF59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0"/>
            <a:ext cx="89297" cy="229306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>
            <a:defPPr>
              <a:defRPr lang="en-US"/>
            </a:defPPr>
          </a:lstStyle>
          <a:p>
            <a:pPr marL="0" lvl="0" indent="0" algn="ctr"/>
            <a:endParaRPr lang="en-GB" sz="1238" b="1" i="0" baseline="0">
              <a:latin typeface="Arial" pitchFamily="34" charset="0"/>
              <a:ea typeface="+mj-ea"/>
              <a:cs typeface="+mj-cs"/>
              <a:sym typeface="Arial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2039995-8FDE-4644-A620-C912E22786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29494" y="695959"/>
            <a:ext cx="6399014" cy="929643"/>
          </a:xfrm>
        </p:spPr>
        <p:txBody>
          <a:bodyPr/>
          <a:lstStyle>
            <a:lvl1pPr>
              <a:defRPr sz="1238"/>
            </a:lvl1pPr>
          </a:lstStyle>
          <a:p>
            <a:r>
              <a:rPr lang="en-GB"/>
              <a:t>Action title – 22pt – Arial – Bold – Dark Blue</a:t>
            </a:r>
            <a:br>
              <a:rPr lang="en-GB"/>
            </a:br>
            <a:r>
              <a:rPr lang="en-GB"/>
              <a:t>Maximum two lines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273EBB05-C2B7-43DF-9D45-00491AD4294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29494" y="343962"/>
            <a:ext cx="6399014" cy="368855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sz="788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0"/>
              <a:t>Topic headline – Arial – 14pt – Epinion Red</a:t>
            </a: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DAC71521-BF6D-4E18-8F4E-E2FB43D37B6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35145" y="9330266"/>
            <a:ext cx="274141" cy="220136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450">
                <a:solidFill>
                  <a:schemeClr val="tx1"/>
                </a:solidFill>
              </a:defRPr>
            </a:lvl1pPr>
          </a:lstStyle>
          <a:p>
            <a:fld id="{92103799-4748-4C4F-A17A-6CEDBDE457E7}" type="slidenum">
              <a:rPr lang="en-GB" smtClean="0"/>
              <a:t>‹#›</a:t>
            </a:fld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896D570-576D-4DCE-B757-CAE101CA585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BB4D908F-C46F-482C-BB0B-4F1C121F7FFF}"/>
              </a:ext>
            </a:extLst>
          </p:cNvPr>
          <p:cNvSpPr txBox="1"/>
          <p:nvPr userDrawn="1"/>
        </p:nvSpPr>
        <p:spPr>
          <a:xfrm>
            <a:off x="531778" y="9330268"/>
            <a:ext cx="5353856" cy="220311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GB" sz="450"/>
              <a:t>© Copyright Epinion</a:t>
            </a:r>
          </a:p>
        </p:txBody>
      </p:sp>
    </p:spTree>
    <p:extLst>
      <p:ext uri="{BB962C8B-B14F-4D97-AF65-F5344CB8AC3E}">
        <p14:creationId xmlns:p14="http://schemas.microsoft.com/office/powerpoint/2010/main" val="785238647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23965295-A054-614A-E6C6-45C50DF480F9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286250" y="0"/>
            <a:ext cx="2571750" cy="9906000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nb-NO"/>
              <a:t>Klikk på ikonet for å legge til et bild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5A1153C6-C51D-C86B-21E7-16701832C4FF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51889" y="2570518"/>
            <a:ext cx="2978952" cy="548728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125">
                <a:latin typeface="+mj-lt"/>
              </a:defRPr>
            </a:lvl1pPr>
            <a:lvl2pPr marL="257191" indent="0">
              <a:buNone/>
              <a:defRPr sz="1125">
                <a:latin typeface="+mj-lt"/>
              </a:defRPr>
            </a:lvl2pPr>
            <a:lvl3pPr marL="514383" indent="0">
              <a:buNone/>
              <a:defRPr sz="1125">
                <a:latin typeface="+mj-lt"/>
              </a:defRPr>
            </a:lvl3pPr>
            <a:lvl4pPr marL="771573" indent="0">
              <a:buNone/>
              <a:defRPr sz="1125">
                <a:latin typeface="+mj-lt"/>
              </a:defRPr>
            </a:lvl4pPr>
            <a:lvl5pPr marL="1028765" indent="0">
              <a:buNone/>
              <a:defRPr sz="1125">
                <a:latin typeface="+mj-lt"/>
              </a:defRPr>
            </a:lvl5pPr>
          </a:lstStyle>
          <a:p>
            <a:pPr lvl="0"/>
            <a:r>
              <a:rPr lang="en-US"/>
              <a:t>Heading</a:t>
            </a:r>
            <a:endParaRPr lang="nb-NO"/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AEB7B724-E4EE-D957-353F-DDFB2A32DA2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87536" y="2570518"/>
            <a:ext cx="170638" cy="5487281"/>
          </a:xfrm>
          <a:prstGeom prst="rect">
            <a:avLst/>
          </a:prstGeom>
        </p:spPr>
        <p:txBody>
          <a:bodyPr lIns="0" tIns="0" rIns="0" bIns="0"/>
          <a:lstStyle>
            <a:lvl1pPr marL="0" indent="0" algn="r">
              <a:buNone/>
              <a:defRPr sz="1125">
                <a:solidFill>
                  <a:srgbClr val="FF0000"/>
                </a:solidFill>
                <a:latin typeface="+mj-lt"/>
              </a:defRPr>
            </a:lvl1pPr>
            <a:lvl2pPr marL="257191" indent="0">
              <a:buNone/>
              <a:defRPr sz="1125">
                <a:latin typeface="+mj-lt"/>
              </a:defRPr>
            </a:lvl2pPr>
            <a:lvl3pPr marL="514383" indent="0">
              <a:buNone/>
              <a:defRPr sz="1125">
                <a:latin typeface="+mj-lt"/>
              </a:defRPr>
            </a:lvl3pPr>
            <a:lvl4pPr marL="771573" indent="0">
              <a:buNone/>
              <a:defRPr sz="1125">
                <a:latin typeface="+mj-lt"/>
              </a:defRPr>
            </a:lvl4pPr>
            <a:lvl5pPr marL="1028765" indent="0">
              <a:buNone/>
              <a:defRPr sz="1125">
                <a:latin typeface="+mj-lt"/>
              </a:defRPr>
            </a:lvl5pPr>
          </a:lstStyle>
          <a:p>
            <a:pPr lvl="0"/>
            <a:r>
              <a:rPr lang="en-US"/>
              <a:t>0</a:t>
            </a:r>
            <a:endParaRPr lang="nb-NO"/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4D73C596-9EB4-F7ED-C55C-F01A8003854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87536" y="720022"/>
            <a:ext cx="3600450" cy="1116719"/>
          </a:xfrm>
        </p:spPr>
        <p:txBody>
          <a:bodyPr anchor="t"/>
          <a:lstStyle>
            <a:lvl1pPr algn="l">
              <a:lnSpc>
                <a:spcPct val="101000"/>
              </a:lnSpc>
              <a:defRPr sz="2250"/>
            </a:lvl1pPr>
          </a:lstStyle>
          <a:p>
            <a:r>
              <a:rPr lang="nb-NO"/>
              <a:t>Klikk for å redigere tittelstil</a:t>
            </a:r>
            <a:endParaRPr lang="en-US"/>
          </a:p>
        </p:txBody>
      </p:sp>
      <p:sp>
        <p:nvSpPr>
          <p:cNvPr id="2" name="Text Placeholder 9">
            <a:extLst>
              <a:ext uri="{FF2B5EF4-FFF2-40B4-BE49-F238E27FC236}">
                <a16:creationId xmlns:a16="http://schemas.microsoft.com/office/drawing/2014/main" id="{1C682003-3B10-9C5D-399E-311ABD05C78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476244" y="8842144"/>
            <a:ext cx="1094221" cy="332374"/>
          </a:xfrm>
        </p:spPr>
        <p:txBody>
          <a:bodyPr anchor="b"/>
          <a:lstStyle>
            <a:lvl1pPr marL="0" indent="0" algn="r">
              <a:buNone/>
              <a:defRPr sz="45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err="1"/>
              <a:t>Foto</a:t>
            </a:r>
            <a:r>
              <a:rPr lang="en-US"/>
              <a:t>: </a:t>
            </a:r>
            <a:r>
              <a:rPr lang="en-US" err="1"/>
              <a:t>Navn</a:t>
            </a:r>
            <a:r>
              <a:rPr lang="en-US"/>
              <a:t> </a:t>
            </a:r>
            <a:r>
              <a:rPr lang="en-US" err="1"/>
              <a:t>Navnesen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17805973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Kapittel + 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19AFAF24-83F8-882B-E955-C16B172712B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21531" y="5153599"/>
            <a:ext cx="1743968" cy="129907"/>
          </a:xfrm>
        </p:spPr>
        <p:txBody>
          <a:bodyPr wrap="square">
            <a:spAutoFit/>
          </a:bodyPr>
          <a:lstStyle>
            <a:lvl1pPr marL="0" indent="0" algn="ctr">
              <a:buNone/>
              <a:defRPr/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2E2B5D07-61AE-E2F9-6918-575E6ECA165C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3499544" y="726626"/>
            <a:ext cx="3070920" cy="8447891"/>
          </a:xfrm>
          <a:prstGeom prst="roundRect">
            <a:avLst>
              <a:gd name="adj" fmla="val 3649"/>
            </a:avLst>
          </a:prstGeo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nb-NO"/>
              <a:t>Klikk på ikonet for å legge til et bilde</a:t>
            </a:r>
          </a:p>
        </p:txBody>
      </p:sp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6F429792-5477-EADA-6916-683D9F053BF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373374" y="8577984"/>
            <a:ext cx="1094221" cy="332374"/>
          </a:xfrm>
        </p:spPr>
        <p:txBody>
          <a:bodyPr anchor="b"/>
          <a:lstStyle>
            <a:lvl1pPr marL="0" indent="0" algn="r">
              <a:buNone/>
              <a:defRPr sz="45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err="1"/>
              <a:t>Foto</a:t>
            </a:r>
            <a:r>
              <a:rPr lang="en-US"/>
              <a:t>:  </a:t>
            </a:r>
            <a:r>
              <a:rPr lang="en-US" err="1"/>
              <a:t>Navn</a:t>
            </a:r>
            <a:r>
              <a:rPr lang="en-US"/>
              <a:t> </a:t>
            </a:r>
            <a:r>
              <a:rPr lang="en-US" err="1"/>
              <a:t>Navnesen</a:t>
            </a:r>
            <a:endParaRPr lang="nb-NO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72F28210-A352-7AEF-5E80-49656A6B421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87536" y="4017435"/>
            <a:ext cx="2817852" cy="338491"/>
          </a:xfrm>
        </p:spPr>
        <p:txBody>
          <a:bodyPr wrap="square" anchor="t">
            <a:spAutoFit/>
          </a:bodyPr>
          <a:lstStyle>
            <a:lvl1pPr algn="ctr">
              <a:lnSpc>
                <a:spcPct val="101000"/>
              </a:lnSpc>
              <a:defRPr sz="2250"/>
            </a:lvl1pPr>
          </a:lstStyle>
          <a:p>
            <a:r>
              <a:rPr lang="en-GB"/>
              <a:t>Tit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1728483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Kapittel + 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2E2B5D07-61AE-E2F9-6918-575E6ECA165C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-1" y="0"/>
            <a:ext cx="6858000" cy="8424000"/>
          </a:xfrm>
          <a:prstGeom prst="roundRect">
            <a:avLst>
              <a:gd name="adj" fmla="val 0"/>
            </a:avLst>
          </a:prstGeo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nb-NO"/>
              <a:t>Klikk på ikonet for å legge til et bilde</a:t>
            </a:r>
          </a:p>
        </p:txBody>
      </p:sp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6F429792-5477-EADA-6916-683D9F053BF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373374" y="8577984"/>
            <a:ext cx="1094221" cy="332374"/>
          </a:xfrm>
        </p:spPr>
        <p:txBody>
          <a:bodyPr anchor="b"/>
          <a:lstStyle>
            <a:lvl1pPr marL="0" indent="0" algn="r">
              <a:buNone/>
              <a:defRPr sz="45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err="1"/>
              <a:t>Foto</a:t>
            </a:r>
            <a:r>
              <a:rPr lang="en-US"/>
              <a:t>:  </a:t>
            </a:r>
            <a:r>
              <a:rPr lang="en-US" err="1"/>
              <a:t>Navn</a:t>
            </a:r>
            <a:r>
              <a:rPr lang="en-US"/>
              <a:t> </a:t>
            </a:r>
            <a:r>
              <a:rPr lang="en-US" err="1"/>
              <a:t>Navnesen</a:t>
            </a:r>
            <a:endParaRPr lang="nb-NO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72F28210-A352-7AEF-5E80-49656A6B421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87536" y="7153473"/>
            <a:ext cx="2817852" cy="889132"/>
          </a:xfrm>
        </p:spPr>
        <p:txBody>
          <a:bodyPr wrap="square" anchor="b" anchorCtr="0">
            <a:noAutofit/>
          </a:bodyPr>
          <a:lstStyle>
            <a:lvl1pPr algn="l">
              <a:lnSpc>
                <a:spcPct val="90000"/>
              </a:lnSpc>
              <a:defRPr sz="2250">
                <a:solidFill>
                  <a:schemeClr val="bg1"/>
                </a:solidFill>
              </a:defRPr>
            </a:lvl1pPr>
          </a:lstStyle>
          <a:p>
            <a:r>
              <a:rPr lang="en-GB"/>
              <a:t>Tit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384110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Nummerert kapittel">
    <p:bg>
      <p:bgPr>
        <a:solidFill>
          <a:srgbClr val="ED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>
            <a:extLst>
              <a:ext uri="{FF2B5EF4-FFF2-40B4-BE49-F238E27FC236}">
                <a16:creationId xmlns:a16="http://schemas.microsoft.com/office/drawing/2014/main" id="{51C7DF56-384D-D2AD-34E9-57924CD7A81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21532" y="1860114"/>
            <a:ext cx="5748791" cy="2921191"/>
          </a:xfrm>
        </p:spPr>
        <p:txBody>
          <a:bodyPr anchor="t"/>
          <a:lstStyle>
            <a:lvl1pPr algn="l">
              <a:lnSpc>
                <a:spcPct val="101000"/>
              </a:lnSpc>
              <a:defRPr sz="3375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en-US"/>
          </a:p>
        </p:txBody>
      </p:sp>
      <p:sp>
        <p:nvSpPr>
          <p:cNvPr id="2" name="Text Placeholder 5">
            <a:extLst>
              <a:ext uri="{FF2B5EF4-FFF2-40B4-BE49-F238E27FC236}">
                <a16:creationId xmlns:a16="http://schemas.microsoft.com/office/drawing/2014/main" id="{2FE5780E-3E3C-EEAA-0C75-540A8EAE2062}"/>
              </a:ext>
            </a:extLst>
          </p:cNvPr>
          <p:cNvSpPr>
            <a:spLocks noGrp="1" noChangeAspect="1"/>
          </p:cNvSpPr>
          <p:nvPr>
            <p:ph type="body" sz="quarter" idx="14" hasCustomPrompt="1"/>
          </p:nvPr>
        </p:nvSpPr>
        <p:spPr>
          <a:xfrm>
            <a:off x="287679" y="8800747"/>
            <a:ext cx="437443" cy="4108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 </a:t>
            </a:r>
            <a:endParaRPr lang="nb-NO"/>
          </a:p>
        </p:txBody>
      </p:sp>
      <p:sp>
        <p:nvSpPr>
          <p:cNvPr id="6" name="Text Placeholder 9">
            <a:extLst>
              <a:ext uri="{FF2B5EF4-FFF2-40B4-BE49-F238E27FC236}">
                <a16:creationId xmlns:a16="http://schemas.microsoft.com/office/drawing/2014/main" id="{CF7A47B8-45D2-D4D6-ED8C-AFF14349891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87679" y="1860112"/>
            <a:ext cx="388299" cy="519373"/>
          </a:xfrm>
        </p:spPr>
        <p:txBody>
          <a:bodyPr wrap="square">
            <a:spAutoFit/>
          </a:bodyPr>
          <a:lstStyle>
            <a:lvl1pPr marL="0" indent="0" algn="l">
              <a:buNone/>
              <a:defRPr sz="3375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/>
              <a:t>#</a:t>
            </a:r>
          </a:p>
        </p:txBody>
      </p:sp>
    </p:spTree>
    <p:extLst>
      <p:ext uri="{BB962C8B-B14F-4D97-AF65-F5344CB8AC3E}">
        <p14:creationId xmlns:p14="http://schemas.microsoft.com/office/powerpoint/2010/main" val="63458907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Nummerert kapittel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>
            <a:extLst>
              <a:ext uri="{FF2B5EF4-FFF2-40B4-BE49-F238E27FC236}">
                <a16:creationId xmlns:a16="http://schemas.microsoft.com/office/drawing/2014/main" id="{51C7DF56-384D-D2AD-34E9-57924CD7A81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21532" y="1857839"/>
            <a:ext cx="4140697" cy="2921191"/>
          </a:xfrm>
        </p:spPr>
        <p:txBody>
          <a:bodyPr anchor="t"/>
          <a:lstStyle>
            <a:lvl1pPr algn="l">
              <a:lnSpc>
                <a:spcPct val="101000"/>
              </a:lnSpc>
              <a:defRPr sz="3375">
                <a:solidFill>
                  <a:schemeClr val="tx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en-US"/>
          </a:p>
        </p:txBody>
      </p:sp>
      <p:pic>
        <p:nvPicPr>
          <p:cNvPr id="3" name="Picture 2" descr="Chart, histogram&#10;&#10;Description automatically generated">
            <a:extLst>
              <a:ext uri="{FF2B5EF4-FFF2-40B4-BE49-F238E27FC236}">
                <a16:creationId xmlns:a16="http://schemas.microsoft.com/office/drawing/2014/main" id="{70A56F11-3B51-B7B2-0019-72085423BE9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86250" y="0"/>
            <a:ext cx="2571750" cy="9906000"/>
          </a:xfrm>
          <a:prstGeom prst="rect">
            <a:avLst/>
          </a:prstGeom>
        </p:spPr>
      </p:pic>
      <p:sp>
        <p:nvSpPr>
          <p:cNvPr id="6" name="Text Placeholder 9">
            <a:extLst>
              <a:ext uri="{FF2B5EF4-FFF2-40B4-BE49-F238E27FC236}">
                <a16:creationId xmlns:a16="http://schemas.microsoft.com/office/drawing/2014/main" id="{CF7A47B8-45D2-D4D6-ED8C-AFF14349891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87679" y="1857837"/>
            <a:ext cx="388299" cy="519373"/>
          </a:xfrm>
        </p:spPr>
        <p:txBody>
          <a:bodyPr wrap="square">
            <a:spAutoFit/>
          </a:bodyPr>
          <a:lstStyle>
            <a:lvl1pPr marL="0" indent="0" algn="l">
              <a:buNone/>
              <a:defRPr sz="3375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GB"/>
              <a:t>#</a:t>
            </a:r>
          </a:p>
        </p:txBody>
      </p:sp>
    </p:spTree>
    <p:extLst>
      <p:ext uri="{BB962C8B-B14F-4D97-AF65-F5344CB8AC3E}">
        <p14:creationId xmlns:p14="http://schemas.microsoft.com/office/powerpoint/2010/main" val="202150333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, tekst og 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F0F147C3-8E63-6760-9182-04A2857B4F06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3499546" y="0"/>
            <a:ext cx="3358455" cy="9906000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nb-NO"/>
              <a:t>Klikk på ikonet for å legge til et bild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83EBE15-06CB-E28A-287E-C8835C9F7D4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87537" y="2930527"/>
            <a:ext cx="2531567" cy="5260659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F7BD30ED-DF75-E9E5-A1FB-7F6001544A6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476244" y="8842144"/>
            <a:ext cx="1094221" cy="332374"/>
          </a:xfrm>
        </p:spPr>
        <p:txBody>
          <a:bodyPr anchor="b"/>
          <a:lstStyle>
            <a:lvl1pPr marL="0" indent="0" algn="r">
              <a:buNone/>
              <a:defRPr sz="45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err="1"/>
              <a:t>Foto</a:t>
            </a:r>
            <a:r>
              <a:rPr lang="en-US"/>
              <a:t>:  </a:t>
            </a:r>
            <a:r>
              <a:rPr lang="en-US" err="1"/>
              <a:t>Navn</a:t>
            </a:r>
            <a:r>
              <a:rPr lang="en-US"/>
              <a:t> </a:t>
            </a:r>
            <a:r>
              <a:rPr lang="en-US" err="1"/>
              <a:t>Navnesen</a:t>
            </a:r>
            <a:endParaRPr lang="nb-NO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B86E55AB-C71D-3C2D-3F1F-A7322F12379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87536" y="720019"/>
            <a:ext cx="2694684" cy="1522589"/>
          </a:xfrm>
        </p:spPr>
        <p:txBody>
          <a:bodyPr tIns="0" anchor="t"/>
          <a:lstStyle>
            <a:lvl1pPr algn="l">
              <a:lnSpc>
                <a:spcPct val="101000"/>
              </a:lnSpc>
              <a:defRPr sz="1350"/>
            </a:lvl1pPr>
          </a:lstStyle>
          <a:p>
            <a:r>
              <a:rPr lang="nb-NO"/>
              <a:t>Klikk for å redigere tittelsti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9576032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tel, tekst og to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0BBB5AD2-0CF5-84F2-76D1-C6611D25768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287537" y="2939445"/>
            <a:ext cx="3065562" cy="2187829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96729A6E-DC1F-E53A-2B9D-3921C8B42E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425303" y="5858760"/>
            <a:ext cx="2002036" cy="3315758"/>
          </a:xfrm>
          <a:prstGeom prst="roundRect">
            <a:avLst>
              <a:gd name="adj" fmla="val 1913"/>
            </a:avLst>
          </a:prstGeo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nb-NO"/>
              <a:t>Klikk på ikonet for å legge til et bilde</a:t>
            </a:r>
          </a:p>
        </p:txBody>
      </p:sp>
      <p:sp>
        <p:nvSpPr>
          <p:cNvPr id="10" name="Picture Placeholder 8">
            <a:extLst>
              <a:ext uri="{FF2B5EF4-FFF2-40B4-BE49-F238E27FC236}">
                <a16:creationId xmlns:a16="http://schemas.microsoft.com/office/drawing/2014/main" id="{D7F520F7-4F80-7AE6-FEF0-1758DFC91D4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4576680" y="3662010"/>
            <a:ext cx="1993785" cy="5512506"/>
          </a:xfrm>
          <a:prstGeom prst="roundRect">
            <a:avLst>
              <a:gd name="adj" fmla="val 1522"/>
            </a:avLst>
          </a:prstGeo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nb-NO"/>
              <a:t>Klikk på ikonet for å legge til et bilde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AA217C1E-8113-7E23-663F-97315998606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87536" y="736289"/>
            <a:ext cx="3248324" cy="1460459"/>
          </a:xfrm>
        </p:spPr>
        <p:txBody>
          <a:bodyPr anchor="t"/>
          <a:lstStyle>
            <a:lvl1pPr algn="l">
              <a:lnSpc>
                <a:spcPct val="101000"/>
              </a:lnSpc>
              <a:defRPr sz="2250"/>
            </a:lvl1pPr>
          </a:lstStyle>
          <a:p>
            <a:r>
              <a:rPr lang="nb-NO"/>
              <a:t>Klikk for å redigere tittelstil</a:t>
            </a:r>
            <a:endParaRPr lang="en-US"/>
          </a:p>
        </p:txBody>
      </p:sp>
      <p:sp>
        <p:nvSpPr>
          <p:cNvPr id="3" name="Text Placeholder 9">
            <a:extLst>
              <a:ext uri="{FF2B5EF4-FFF2-40B4-BE49-F238E27FC236}">
                <a16:creationId xmlns:a16="http://schemas.microsoft.com/office/drawing/2014/main" id="{DBDC5140-17DF-067A-F205-8810F110FC6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425320" y="8711377"/>
            <a:ext cx="1094221" cy="332374"/>
          </a:xfrm>
        </p:spPr>
        <p:txBody>
          <a:bodyPr anchor="b"/>
          <a:lstStyle>
            <a:lvl1pPr marL="0" indent="0" algn="r">
              <a:buNone/>
              <a:defRPr sz="45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err="1"/>
              <a:t>Foto</a:t>
            </a:r>
            <a:r>
              <a:rPr lang="en-US"/>
              <a:t>: </a:t>
            </a:r>
            <a:r>
              <a:rPr lang="en-US" err="1"/>
              <a:t>Navn</a:t>
            </a:r>
            <a:r>
              <a:rPr lang="en-US"/>
              <a:t> </a:t>
            </a:r>
            <a:r>
              <a:rPr lang="en-US" err="1"/>
              <a:t>Navnesen</a:t>
            </a:r>
            <a:endParaRPr lang="nb-NO"/>
          </a:p>
        </p:txBody>
      </p:sp>
      <p:sp>
        <p:nvSpPr>
          <p:cNvPr id="4" name="Text Placeholder 9">
            <a:extLst>
              <a:ext uri="{FF2B5EF4-FFF2-40B4-BE49-F238E27FC236}">
                <a16:creationId xmlns:a16="http://schemas.microsoft.com/office/drawing/2014/main" id="{BADEC332-AA0D-7C2D-26EA-3F5A1E5188C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282195" y="8711377"/>
            <a:ext cx="1094221" cy="332374"/>
          </a:xfrm>
        </p:spPr>
        <p:txBody>
          <a:bodyPr anchor="b"/>
          <a:lstStyle>
            <a:lvl1pPr marL="0" indent="0" algn="r">
              <a:buNone/>
              <a:defRPr sz="45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err="1"/>
              <a:t>Foto</a:t>
            </a:r>
            <a:r>
              <a:rPr lang="en-US"/>
              <a:t>: </a:t>
            </a:r>
            <a:r>
              <a:rPr lang="en-US" err="1"/>
              <a:t>Navn</a:t>
            </a:r>
            <a:r>
              <a:rPr lang="en-US"/>
              <a:t> </a:t>
            </a:r>
            <a:r>
              <a:rPr lang="en-US" err="1"/>
              <a:t>Navnesen</a:t>
            </a:r>
            <a:endParaRPr lang="nb-NO"/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BED9B5B6-1643-1455-5147-111417403AD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87537" y="8800747"/>
            <a:ext cx="439521" cy="412617"/>
          </a:xfrm>
          <a:prstGeom prst="rect">
            <a:avLst/>
          </a:prstGeom>
        </p:spPr>
      </p:pic>
      <p:pic>
        <p:nvPicPr>
          <p:cNvPr id="2" name="Epinion logo">
            <a:extLst>
              <a:ext uri="{FF2B5EF4-FFF2-40B4-BE49-F238E27FC236}">
                <a16:creationId xmlns:a16="http://schemas.microsoft.com/office/drawing/2014/main" id="{102E9617-7CBC-4969-4780-61CF23FD87B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1531" y="8871909"/>
            <a:ext cx="450150" cy="348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5885626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image" Target="../media/image2.sv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image" Target="../media/image1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87536" y="738693"/>
            <a:ext cx="4674692" cy="144484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nb-NO" noProof="0"/>
              <a:t>Klikk for å redigere tittelstil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87536" y="2930526"/>
            <a:ext cx="4676712" cy="403348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nb-NO" noProof="0" err="1"/>
              <a:t>Click</a:t>
            </a:r>
            <a:r>
              <a:rPr lang="nb-NO" noProof="0"/>
              <a:t> to </a:t>
            </a:r>
            <a:r>
              <a:rPr lang="nb-NO" noProof="0" err="1"/>
              <a:t>edit</a:t>
            </a:r>
            <a:r>
              <a:rPr lang="nb-NO" noProof="0"/>
              <a:t> Master </a:t>
            </a:r>
            <a:r>
              <a:rPr lang="nb-NO" noProof="0" err="1"/>
              <a:t>text</a:t>
            </a:r>
            <a:r>
              <a:rPr lang="nb-NO" noProof="0"/>
              <a:t> styles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425303" y="9321447"/>
            <a:ext cx="3605807" cy="364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450">
                <a:solidFill>
                  <a:schemeClr val="tx1"/>
                </a:solidFill>
                <a:latin typeface="Innovation Norway" panose="020B0500030000000000"/>
              </a:defRPr>
            </a:lvl1pPr>
          </a:lstStyle>
          <a:p>
            <a:endParaRPr lang="nb-NO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298110" y="9321447"/>
            <a:ext cx="272355" cy="364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450">
                <a:solidFill>
                  <a:schemeClr val="tx1"/>
                </a:solidFill>
                <a:latin typeface="Innovation Norway" panose="020B0500030000000000"/>
              </a:defRPr>
            </a:lvl1pPr>
          </a:lstStyle>
          <a:p>
            <a:fld id="{57121188-AE7A-48EF-BF71-B58977C188BC}" type="slidenum">
              <a:rPr lang="nb-NO" smtClean="0"/>
              <a:pPr/>
              <a:t>‹#›</a:t>
            </a:fld>
            <a:endParaRPr lang="nb-NO"/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5DBDFCB9-2C5C-4A20-49E3-5CC299B6067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3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2"/>
              </a:ext>
            </a:extLst>
          </a:blip>
          <a:stretch>
            <a:fillRect/>
          </a:stretch>
        </p:blipFill>
        <p:spPr>
          <a:xfrm>
            <a:off x="287536" y="192437"/>
            <a:ext cx="690364" cy="3806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9982441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75" r:id="rId2"/>
    <p:sldLayoutId id="2147483662" r:id="rId3"/>
    <p:sldLayoutId id="2147483705" r:id="rId4"/>
    <p:sldLayoutId id="2147483954" r:id="rId5"/>
    <p:sldLayoutId id="2147483720" r:id="rId6"/>
    <p:sldLayoutId id="2147483719" r:id="rId7"/>
    <p:sldLayoutId id="2147483678" r:id="rId8"/>
    <p:sldLayoutId id="2147483721" r:id="rId9"/>
    <p:sldLayoutId id="2147483718" r:id="rId10"/>
    <p:sldLayoutId id="2147483703" r:id="rId11"/>
    <p:sldLayoutId id="2147483679" r:id="rId12"/>
    <p:sldLayoutId id="2147483722" r:id="rId13"/>
    <p:sldLayoutId id="2147483723" r:id="rId14"/>
    <p:sldLayoutId id="2147483727" r:id="rId15"/>
    <p:sldLayoutId id="2147483724" r:id="rId16"/>
    <p:sldLayoutId id="2147483725" r:id="rId17"/>
    <p:sldLayoutId id="2147483680" r:id="rId18"/>
    <p:sldLayoutId id="2147483681" r:id="rId19"/>
    <p:sldLayoutId id="2147483687" r:id="rId20"/>
    <p:sldLayoutId id="2147483693" r:id="rId21"/>
    <p:sldLayoutId id="2147483694" r:id="rId22"/>
    <p:sldLayoutId id="2147483696" r:id="rId23"/>
    <p:sldLayoutId id="2147483697" r:id="rId24"/>
    <p:sldLayoutId id="2147483699" r:id="rId25"/>
    <p:sldLayoutId id="2147483711" r:id="rId26"/>
    <p:sldLayoutId id="2147483730" r:id="rId27"/>
    <p:sldLayoutId id="2147483952" r:id="rId28"/>
    <p:sldLayoutId id="2147483953" r:id="rId29"/>
  </p:sldLayoutIdLst>
  <p:hf hdr="0" dt="0"/>
  <p:txStyles>
    <p:titleStyle>
      <a:lvl1pPr algn="l" defTabSz="514383" rtl="0" eaLnBrk="1" latinLnBrk="0" hangingPunct="1">
        <a:lnSpc>
          <a:spcPct val="101000"/>
        </a:lnSpc>
        <a:spcBef>
          <a:spcPct val="0"/>
        </a:spcBef>
        <a:buNone/>
        <a:defRPr sz="225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94675" indent="-94675" algn="l" defTabSz="514383" rtl="0" eaLnBrk="1" latinLnBrk="0" hangingPunct="1">
        <a:lnSpc>
          <a:spcPct val="100000"/>
        </a:lnSpc>
        <a:spcBef>
          <a:spcPts val="0"/>
        </a:spcBef>
        <a:buFont typeface="Innovation Norway" panose="020B0500030000000000" pitchFamily="34" charset="0"/>
        <a:buChar char="•"/>
        <a:defRPr sz="844" kern="1200">
          <a:solidFill>
            <a:schemeClr val="tx1"/>
          </a:solidFill>
          <a:latin typeface="+mn-lt"/>
          <a:ea typeface="+mn-ea"/>
          <a:cs typeface="+mn-cs"/>
        </a:defRPr>
      </a:lvl1pPr>
      <a:lvl2pPr marL="385787" indent="-128595" algn="l" defTabSz="514383" rtl="0" eaLnBrk="1" latinLnBrk="0" hangingPunct="1">
        <a:lnSpc>
          <a:spcPct val="100000"/>
        </a:lnSpc>
        <a:spcBef>
          <a:spcPts val="0"/>
        </a:spcBef>
        <a:buFont typeface="Innovation Norway" panose="020B0500030000000000" pitchFamily="34" charset="0"/>
        <a:buChar char="•"/>
        <a:defRPr sz="844" kern="1200">
          <a:solidFill>
            <a:schemeClr val="tx1"/>
          </a:solidFill>
          <a:latin typeface="+mn-lt"/>
          <a:ea typeface="+mn-ea"/>
          <a:cs typeface="+mn-cs"/>
        </a:defRPr>
      </a:lvl2pPr>
      <a:lvl3pPr marL="642978" indent="-128595" algn="l" defTabSz="514383" rtl="0" eaLnBrk="1" latinLnBrk="0" hangingPunct="1">
        <a:lnSpc>
          <a:spcPct val="100000"/>
        </a:lnSpc>
        <a:spcBef>
          <a:spcPts val="0"/>
        </a:spcBef>
        <a:buFont typeface="Innovation Norway" panose="020B0500030000000000" pitchFamily="34" charset="0"/>
        <a:buChar char="•"/>
        <a:defRPr sz="844" kern="1200">
          <a:solidFill>
            <a:schemeClr val="tx1"/>
          </a:solidFill>
          <a:latin typeface="+mn-lt"/>
          <a:ea typeface="+mn-ea"/>
          <a:cs typeface="+mn-cs"/>
        </a:defRPr>
      </a:lvl3pPr>
      <a:lvl4pPr marL="900169" indent="-128595" algn="l" defTabSz="514383" rtl="0" eaLnBrk="1" latinLnBrk="0" hangingPunct="1">
        <a:lnSpc>
          <a:spcPct val="100000"/>
        </a:lnSpc>
        <a:spcBef>
          <a:spcPts val="0"/>
        </a:spcBef>
        <a:buFont typeface="Innovation Norway" panose="020B0500030000000000" pitchFamily="34" charset="0"/>
        <a:buChar char="•"/>
        <a:defRPr sz="844" kern="1200">
          <a:solidFill>
            <a:schemeClr val="tx1"/>
          </a:solidFill>
          <a:latin typeface="+mn-lt"/>
          <a:ea typeface="+mn-ea"/>
          <a:cs typeface="+mn-cs"/>
        </a:defRPr>
      </a:lvl4pPr>
      <a:lvl5pPr marL="1157360" indent="-128595" algn="l" defTabSz="514383" rtl="0" eaLnBrk="1" latinLnBrk="0" hangingPunct="1">
        <a:lnSpc>
          <a:spcPct val="100000"/>
        </a:lnSpc>
        <a:spcBef>
          <a:spcPts val="0"/>
        </a:spcBef>
        <a:buFont typeface="Innovation Norway" panose="020B0500030000000000" pitchFamily="34" charset="0"/>
        <a:buChar char="•"/>
        <a:defRPr sz="844" kern="1200">
          <a:solidFill>
            <a:schemeClr val="tx1"/>
          </a:solidFill>
          <a:latin typeface="+mn-lt"/>
          <a:ea typeface="+mn-ea"/>
          <a:cs typeface="+mn-cs"/>
        </a:defRPr>
      </a:lvl5pPr>
      <a:lvl6pPr marL="1414551" indent="-128595" algn="l" defTabSz="514383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6pPr>
      <a:lvl7pPr marL="1671742" indent="-128595" algn="l" defTabSz="514383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7pPr>
      <a:lvl8pPr marL="1928933" indent="-128595" algn="l" defTabSz="514383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8pPr>
      <a:lvl9pPr marL="2186124" indent="-128595" algn="l" defTabSz="514383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14383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1pPr>
      <a:lvl2pPr marL="257191" algn="l" defTabSz="514383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2pPr>
      <a:lvl3pPr marL="514383" algn="l" defTabSz="514383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3pPr>
      <a:lvl4pPr marL="771573" algn="l" defTabSz="514383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4pPr>
      <a:lvl5pPr marL="1028764" algn="l" defTabSz="514383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5pPr>
      <a:lvl6pPr marL="1285955" algn="l" defTabSz="514383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6pPr>
      <a:lvl7pPr marL="1543146" algn="l" defTabSz="514383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7pPr>
      <a:lvl8pPr marL="1800338" algn="l" defTabSz="514383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8pPr>
      <a:lvl9pPr marL="2057529" algn="l" defTabSz="514383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44" orient="horz" pos="1846" userDrawn="1">
          <p15:clr>
            <a:srgbClr val="5ACBF0"/>
          </p15:clr>
        </p15:guide>
        <p15:guide id="46" orient="horz" pos="1384" userDrawn="1">
          <p15:clr>
            <a:srgbClr val="5ACBF0"/>
          </p15:clr>
        </p15:guide>
        <p15:guide id="50" orient="horz" pos="454" userDrawn="1">
          <p15:clr>
            <a:srgbClr val="5ACBF0"/>
          </p15:clr>
        </p15:guide>
        <p15:guide id="52" orient="horz" pos="5310" userDrawn="1">
          <p15:clr>
            <a:srgbClr val="5ACBF0"/>
          </p15:clr>
        </p15:guide>
        <p15:guide id="55" pos="4139" userDrawn="1">
          <p15:clr>
            <a:srgbClr val="5ACBF0"/>
          </p15:clr>
        </p15:guide>
        <p15:guide id="78" pos="181" userDrawn="1">
          <p15:clr>
            <a:srgbClr val="5ACBF0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13" Type="http://schemas.openxmlformats.org/officeDocument/2006/relationships/chart" Target="../charts/chart1.xml"/><Relationship Id="rId3" Type="http://schemas.openxmlformats.org/officeDocument/2006/relationships/image" Target="../media/image14.png"/><Relationship Id="rId7" Type="http://schemas.openxmlformats.org/officeDocument/2006/relationships/image" Target="../media/image18.png"/><Relationship Id="rId12" Type="http://schemas.openxmlformats.org/officeDocument/2006/relationships/image" Target="../media/image2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17.png"/><Relationship Id="rId11" Type="http://schemas.openxmlformats.org/officeDocument/2006/relationships/image" Target="../media/image22.png"/><Relationship Id="rId5" Type="http://schemas.openxmlformats.org/officeDocument/2006/relationships/image" Target="../media/image16.png"/><Relationship Id="rId10" Type="http://schemas.openxmlformats.org/officeDocument/2006/relationships/image" Target="../media/image21.png"/><Relationship Id="rId4" Type="http://schemas.openxmlformats.org/officeDocument/2006/relationships/image" Target="../media/image15.png"/><Relationship Id="rId9" Type="http://schemas.openxmlformats.org/officeDocument/2006/relationships/image" Target="../media/image20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99B168E-C7CC-99E4-9A4B-1D048146564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" name="Graphic 11">
            <a:extLst>
              <a:ext uri="{FF2B5EF4-FFF2-40B4-BE49-F238E27FC236}">
                <a16:creationId xmlns:a16="http://schemas.microsoft.com/office/drawing/2014/main" id="{52BA7FF2-0686-75B9-56E8-3510D9F14722}"/>
              </a:ext>
            </a:extLst>
          </p:cNvPr>
          <p:cNvSpPr/>
          <p:nvPr/>
        </p:nvSpPr>
        <p:spPr>
          <a:xfrm>
            <a:off x="287426" y="2755606"/>
            <a:ext cx="3377568" cy="318415"/>
          </a:xfrm>
          <a:custGeom>
            <a:avLst/>
            <a:gdLst>
              <a:gd name="connsiteX0" fmla="*/ 2050099 w 2208308"/>
              <a:gd name="connsiteY0" fmla="*/ 263195 h 507788"/>
              <a:gd name="connsiteX1" fmla="*/ 2056195 w 2208308"/>
              <a:gd name="connsiteY1" fmla="*/ 254813 h 507788"/>
              <a:gd name="connsiteX2" fmla="*/ 2067910 w 2208308"/>
              <a:gd name="connsiteY2" fmla="*/ 255004 h 507788"/>
              <a:gd name="connsiteX3" fmla="*/ 2075530 w 2208308"/>
              <a:gd name="connsiteY3" fmla="*/ 247479 h 507788"/>
              <a:gd name="connsiteX4" fmla="*/ 2080293 w 2208308"/>
              <a:gd name="connsiteY4" fmla="*/ 248336 h 507788"/>
              <a:gd name="connsiteX5" fmla="*/ 2099057 w 2208308"/>
              <a:gd name="connsiteY5" fmla="*/ 262719 h 507788"/>
              <a:gd name="connsiteX6" fmla="*/ 2099057 w 2208308"/>
              <a:gd name="connsiteY6" fmla="*/ 264910 h 507788"/>
              <a:gd name="connsiteX7" fmla="*/ 2107820 w 2208308"/>
              <a:gd name="connsiteY7" fmla="*/ 271577 h 507788"/>
              <a:gd name="connsiteX8" fmla="*/ 2124870 w 2208308"/>
              <a:gd name="connsiteY8" fmla="*/ 274625 h 507788"/>
              <a:gd name="connsiteX9" fmla="*/ 2127823 w 2208308"/>
              <a:gd name="connsiteY9" fmla="*/ 281674 h 507788"/>
              <a:gd name="connsiteX10" fmla="*/ 2122870 w 2208308"/>
              <a:gd name="connsiteY10" fmla="*/ 283388 h 507788"/>
              <a:gd name="connsiteX11" fmla="*/ 2089437 w 2208308"/>
              <a:gd name="connsiteY11" fmla="*/ 275483 h 507788"/>
              <a:gd name="connsiteX12" fmla="*/ 2054480 w 2208308"/>
              <a:gd name="connsiteY12" fmla="*/ 270149 h 507788"/>
              <a:gd name="connsiteX13" fmla="*/ 2050099 w 2208308"/>
              <a:gd name="connsiteY13" fmla="*/ 263291 h 507788"/>
              <a:gd name="connsiteX14" fmla="*/ 2164589 w 2208308"/>
              <a:gd name="connsiteY14" fmla="*/ 284722 h 507788"/>
              <a:gd name="connsiteX15" fmla="*/ 2131633 w 2208308"/>
              <a:gd name="connsiteY15" fmla="*/ 282531 h 507788"/>
              <a:gd name="connsiteX16" fmla="*/ 2145444 w 2208308"/>
              <a:gd name="connsiteY16" fmla="*/ 286055 h 507788"/>
              <a:gd name="connsiteX17" fmla="*/ 2164589 w 2208308"/>
              <a:gd name="connsiteY17" fmla="*/ 284722 h 507788"/>
              <a:gd name="connsiteX18" fmla="*/ 2059338 w 2208308"/>
              <a:gd name="connsiteY18" fmla="*/ 175565 h 507788"/>
              <a:gd name="connsiteX19" fmla="*/ 2046193 w 2208308"/>
              <a:gd name="connsiteY19" fmla="*/ 187186 h 507788"/>
              <a:gd name="connsiteX20" fmla="*/ 2096009 w 2208308"/>
              <a:gd name="connsiteY20" fmla="*/ 191948 h 507788"/>
              <a:gd name="connsiteX21" fmla="*/ 2080102 w 2208308"/>
              <a:gd name="connsiteY21" fmla="*/ 186519 h 507788"/>
              <a:gd name="connsiteX22" fmla="*/ 2067434 w 2208308"/>
              <a:gd name="connsiteY22" fmla="*/ 175375 h 507788"/>
              <a:gd name="connsiteX23" fmla="*/ 2059338 w 2208308"/>
              <a:gd name="connsiteY23" fmla="*/ 175565 h 507788"/>
              <a:gd name="connsiteX24" fmla="*/ 2109154 w 2208308"/>
              <a:gd name="connsiteY24" fmla="*/ 429502 h 507788"/>
              <a:gd name="connsiteX25" fmla="*/ 2138300 w 2208308"/>
              <a:gd name="connsiteY25" fmla="*/ 435979 h 507788"/>
              <a:gd name="connsiteX26" fmla="*/ 2164589 w 2208308"/>
              <a:gd name="connsiteY26" fmla="*/ 453505 h 507788"/>
              <a:gd name="connsiteX27" fmla="*/ 2187163 w 2208308"/>
              <a:gd name="connsiteY27" fmla="*/ 463506 h 507788"/>
              <a:gd name="connsiteX28" fmla="*/ 2149349 w 2208308"/>
              <a:gd name="connsiteY28" fmla="*/ 460934 h 507788"/>
              <a:gd name="connsiteX29" fmla="*/ 2146492 w 2208308"/>
              <a:gd name="connsiteY29" fmla="*/ 460744 h 507788"/>
              <a:gd name="connsiteX30" fmla="*/ 2106201 w 2208308"/>
              <a:gd name="connsiteY30" fmla="*/ 453124 h 507788"/>
              <a:gd name="connsiteX31" fmla="*/ 2072292 w 2208308"/>
              <a:gd name="connsiteY31" fmla="*/ 441313 h 507788"/>
              <a:gd name="connsiteX32" fmla="*/ 2065339 w 2208308"/>
              <a:gd name="connsiteY32" fmla="*/ 440646 h 507788"/>
              <a:gd name="connsiteX33" fmla="*/ 2056004 w 2208308"/>
              <a:gd name="connsiteY33" fmla="*/ 441122 h 507788"/>
              <a:gd name="connsiteX34" fmla="*/ 2042955 w 2208308"/>
              <a:gd name="connsiteY34" fmla="*/ 437693 h 507788"/>
              <a:gd name="connsiteX35" fmla="*/ 2025905 w 2208308"/>
              <a:gd name="connsiteY35" fmla="*/ 429788 h 507788"/>
              <a:gd name="connsiteX36" fmla="*/ 2022571 w 2208308"/>
              <a:gd name="connsiteY36" fmla="*/ 427787 h 507788"/>
              <a:gd name="connsiteX37" fmla="*/ 2022381 w 2208308"/>
              <a:gd name="connsiteY37" fmla="*/ 437789 h 507788"/>
              <a:gd name="connsiteX38" fmla="*/ 2028286 w 2208308"/>
              <a:gd name="connsiteY38" fmla="*/ 451314 h 507788"/>
              <a:gd name="connsiteX39" fmla="*/ 2050194 w 2208308"/>
              <a:gd name="connsiteY39" fmla="*/ 458458 h 507788"/>
              <a:gd name="connsiteX40" fmla="*/ 2066101 w 2208308"/>
              <a:gd name="connsiteY40" fmla="*/ 463030 h 507788"/>
              <a:gd name="connsiteX41" fmla="*/ 2069530 w 2208308"/>
              <a:gd name="connsiteY41" fmla="*/ 470555 h 507788"/>
              <a:gd name="connsiteX42" fmla="*/ 2062862 w 2208308"/>
              <a:gd name="connsiteY42" fmla="*/ 471888 h 507788"/>
              <a:gd name="connsiteX43" fmla="*/ 2047051 w 2208308"/>
              <a:gd name="connsiteY43" fmla="*/ 470555 h 507788"/>
              <a:gd name="connsiteX44" fmla="*/ 2035621 w 2208308"/>
              <a:gd name="connsiteY44" fmla="*/ 470555 h 507788"/>
              <a:gd name="connsiteX45" fmla="*/ 2008474 w 2208308"/>
              <a:gd name="connsiteY45" fmla="*/ 458553 h 507788"/>
              <a:gd name="connsiteX46" fmla="*/ 1994092 w 2208308"/>
              <a:gd name="connsiteY46" fmla="*/ 460934 h 507788"/>
              <a:gd name="connsiteX47" fmla="*/ 1981042 w 2208308"/>
              <a:gd name="connsiteY47" fmla="*/ 459125 h 507788"/>
              <a:gd name="connsiteX48" fmla="*/ 1945800 w 2208308"/>
              <a:gd name="connsiteY48" fmla="*/ 458172 h 507788"/>
              <a:gd name="connsiteX49" fmla="*/ 1930465 w 2208308"/>
              <a:gd name="connsiteY49" fmla="*/ 456077 h 507788"/>
              <a:gd name="connsiteX50" fmla="*/ 1917892 w 2208308"/>
              <a:gd name="connsiteY50" fmla="*/ 462744 h 507788"/>
              <a:gd name="connsiteX51" fmla="*/ 1909605 w 2208308"/>
              <a:gd name="connsiteY51" fmla="*/ 463316 h 507788"/>
              <a:gd name="connsiteX52" fmla="*/ 1882649 w 2208308"/>
              <a:gd name="connsiteY52" fmla="*/ 465792 h 507788"/>
              <a:gd name="connsiteX53" fmla="*/ 1861599 w 2208308"/>
              <a:gd name="connsiteY53" fmla="*/ 463030 h 507788"/>
              <a:gd name="connsiteX54" fmla="*/ 1870457 w 2208308"/>
              <a:gd name="connsiteY54" fmla="*/ 471317 h 507788"/>
              <a:gd name="connsiteX55" fmla="*/ 1886459 w 2208308"/>
              <a:gd name="connsiteY55" fmla="*/ 481985 h 507788"/>
              <a:gd name="connsiteX56" fmla="*/ 1902461 w 2208308"/>
              <a:gd name="connsiteY56" fmla="*/ 482747 h 507788"/>
              <a:gd name="connsiteX57" fmla="*/ 1933513 w 2208308"/>
              <a:gd name="connsiteY57" fmla="*/ 483318 h 507788"/>
              <a:gd name="connsiteX58" fmla="*/ 1933513 w 2208308"/>
              <a:gd name="connsiteY58" fmla="*/ 492176 h 507788"/>
              <a:gd name="connsiteX59" fmla="*/ 1926083 w 2208308"/>
              <a:gd name="connsiteY59" fmla="*/ 498749 h 507788"/>
              <a:gd name="connsiteX60" fmla="*/ 1911129 w 2208308"/>
              <a:gd name="connsiteY60" fmla="*/ 502844 h 507788"/>
              <a:gd name="connsiteX61" fmla="*/ 1886459 w 2208308"/>
              <a:gd name="connsiteY61" fmla="*/ 505607 h 507788"/>
              <a:gd name="connsiteX62" fmla="*/ 1847978 w 2208308"/>
              <a:gd name="connsiteY62" fmla="*/ 503702 h 507788"/>
              <a:gd name="connsiteX63" fmla="*/ 1825118 w 2208308"/>
              <a:gd name="connsiteY63" fmla="*/ 496463 h 507788"/>
              <a:gd name="connsiteX64" fmla="*/ 1806925 w 2208308"/>
              <a:gd name="connsiteY64" fmla="*/ 489224 h 507788"/>
              <a:gd name="connsiteX65" fmla="*/ 1805306 w 2208308"/>
              <a:gd name="connsiteY65" fmla="*/ 486842 h 507788"/>
              <a:gd name="connsiteX66" fmla="*/ 1773969 w 2208308"/>
              <a:gd name="connsiteY66" fmla="*/ 490462 h 507788"/>
              <a:gd name="connsiteX67" fmla="*/ 1767873 w 2208308"/>
              <a:gd name="connsiteY67" fmla="*/ 489700 h 507788"/>
              <a:gd name="connsiteX68" fmla="*/ 1750061 w 2208308"/>
              <a:gd name="connsiteY68" fmla="*/ 494653 h 507788"/>
              <a:gd name="connsiteX69" fmla="*/ 1722058 w 2208308"/>
              <a:gd name="connsiteY69" fmla="*/ 492081 h 507788"/>
              <a:gd name="connsiteX70" fmla="*/ 1716533 w 2208308"/>
              <a:gd name="connsiteY70" fmla="*/ 490367 h 507788"/>
              <a:gd name="connsiteX71" fmla="*/ 1679386 w 2208308"/>
              <a:gd name="connsiteY71" fmla="*/ 486366 h 507788"/>
              <a:gd name="connsiteX72" fmla="*/ 1662431 w 2208308"/>
              <a:gd name="connsiteY72" fmla="*/ 497129 h 507788"/>
              <a:gd name="connsiteX73" fmla="*/ 1645477 w 2208308"/>
              <a:gd name="connsiteY73" fmla="*/ 497510 h 507788"/>
              <a:gd name="connsiteX74" fmla="*/ 1605948 w 2208308"/>
              <a:gd name="connsiteY74" fmla="*/ 490938 h 507788"/>
              <a:gd name="connsiteX75" fmla="*/ 1512603 w 2208308"/>
              <a:gd name="connsiteY75" fmla="*/ 489319 h 507788"/>
              <a:gd name="connsiteX76" fmla="*/ 1498411 w 2208308"/>
              <a:gd name="connsiteY76" fmla="*/ 490748 h 507788"/>
              <a:gd name="connsiteX77" fmla="*/ 1472979 w 2208308"/>
              <a:gd name="connsiteY77" fmla="*/ 491605 h 507788"/>
              <a:gd name="connsiteX78" fmla="*/ 1435450 w 2208308"/>
              <a:gd name="connsiteY78" fmla="*/ 491986 h 507788"/>
              <a:gd name="connsiteX79" fmla="*/ 1427068 w 2208308"/>
              <a:gd name="connsiteY79" fmla="*/ 493891 h 507788"/>
              <a:gd name="connsiteX80" fmla="*/ 1407733 w 2208308"/>
              <a:gd name="connsiteY80" fmla="*/ 500273 h 507788"/>
              <a:gd name="connsiteX81" fmla="*/ 1391731 w 2208308"/>
              <a:gd name="connsiteY81" fmla="*/ 486652 h 507788"/>
              <a:gd name="connsiteX82" fmla="*/ 1364965 w 2208308"/>
              <a:gd name="connsiteY82" fmla="*/ 494367 h 507788"/>
              <a:gd name="connsiteX83" fmla="*/ 1341058 w 2208308"/>
              <a:gd name="connsiteY83" fmla="*/ 502940 h 507788"/>
              <a:gd name="connsiteX84" fmla="*/ 1335628 w 2208308"/>
              <a:gd name="connsiteY84" fmla="*/ 500558 h 507788"/>
              <a:gd name="connsiteX85" fmla="*/ 1292480 w 2208308"/>
              <a:gd name="connsiteY85" fmla="*/ 494081 h 507788"/>
              <a:gd name="connsiteX86" fmla="*/ 939769 w 2208308"/>
              <a:gd name="connsiteY86" fmla="*/ 503606 h 507788"/>
              <a:gd name="connsiteX87" fmla="*/ 854330 w 2208308"/>
              <a:gd name="connsiteY87" fmla="*/ 499415 h 507788"/>
              <a:gd name="connsiteX88" fmla="*/ 590869 w 2208308"/>
              <a:gd name="connsiteY88" fmla="*/ 498939 h 507788"/>
              <a:gd name="connsiteX89" fmla="*/ 576867 w 2208308"/>
              <a:gd name="connsiteY89" fmla="*/ 501511 h 507788"/>
              <a:gd name="connsiteX90" fmla="*/ 559436 w 2208308"/>
              <a:gd name="connsiteY90" fmla="*/ 499225 h 507788"/>
              <a:gd name="connsiteX91" fmla="*/ 512287 w 2208308"/>
              <a:gd name="connsiteY91" fmla="*/ 499701 h 507788"/>
              <a:gd name="connsiteX92" fmla="*/ 459233 w 2208308"/>
              <a:gd name="connsiteY92" fmla="*/ 505797 h 507788"/>
              <a:gd name="connsiteX93" fmla="*/ 397321 w 2208308"/>
              <a:gd name="connsiteY93" fmla="*/ 499701 h 507788"/>
              <a:gd name="connsiteX94" fmla="*/ 359316 w 2208308"/>
              <a:gd name="connsiteY94" fmla="*/ 498844 h 507788"/>
              <a:gd name="connsiteX95" fmla="*/ 309310 w 2208308"/>
              <a:gd name="connsiteY95" fmla="*/ 494367 h 507788"/>
              <a:gd name="connsiteX96" fmla="*/ 291593 w 2208308"/>
              <a:gd name="connsiteY96" fmla="*/ 492272 h 507788"/>
              <a:gd name="connsiteX97" fmla="*/ 259780 w 2208308"/>
              <a:gd name="connsiteY97" fmla="*/ 493319 h 507788"/>
              <a:gd name="connsiteX98" fmla="*/ 197296 w 2208308"/>
              <a:gd name="connsiteY98" fmla="*/ 497415 h 507788"/>
              <a:gd name="connsiteX99" fmla="*/ 125668 w 2208308"/>
              <a:gd name="connsiteY99" fmla="*/ 498749 h 507788"/>
              <a:gd name="connsiteX100" fmla="*/ 99760 w 2208308"/>
              <a:gd name="connsiteY100" fmla="*/ 499130 h 507788"/>
              <a:gd name="connsiteX101" fmla="*/ 92521 w 2208308"/>
              <a:gd name="connsiteY101" fmla="*/ 503225 h 507788"/>
              <a:gd name="connsiteX102" fmla="*/ 78328 w 2208308"/>
              <a:gd name="connsiteY102" fmla="*/ 501701 h 507788"/>
              <a:gd name="connsiteX103" fmla="*/ 49944 w 2208308"/>
              <a:gd name="connsiteY103" fmla="*/ 503702 h 507788"/>
              <a:gd name="connsiteX104" fmla="*/ 40038 w 2208308"/>
              <a:gd name="connsiteY104" fmla="*/ 497796 h 507788"/>
              <a:gd name="connsiteX105" fmla="*/ 24131 w 2208308"/>
              <a:gd name="connsiteY105" fmla="*/ 483223 h 507788"/>
              <a:gd name="connsiteX106" fmla="*/ 20416 w 2208308"/>
              <a:gd name="connsiteY106" fmla="*/ 463030 h 507788"/>
              <a:gd name="connsiteX107" fmla="*/ 15178 w 2208308"/>
              <a:gd name="connsiteY107" fmla="*/ 449600 h 507788"/>
              <a:gd name="connsiteX108" fmla="*/ 5938 w 2208308"/>
              <a:gd name="connsiteY108" fmla="*/ 420548 h 507788"/>
              <a:gd name="connsiteX109" fmla="*/ 10415 w 2208308"/>
              <a:gd name="connsiteY109" fmla="*/ 397593 h 507788"/>
              <a:gd name="connsiteX110" fmla="*/ 20321 w 2208308"/>
              <a:gd name="connsiteY110" fmla="*/ 381496 h 507788"/>
              <a:gd name="connsiteX111" fmla="*/ 12225 w 2208308"/>
              <a:gd name="connsiteY111" fmla="*/ 347873 h 507788"/>
              <a:gd name="connsiteX112" fmla="*/ 6605 w 2208308"/>
              <a:gd name="connsiteY112" fmla="*/ 265862 h 507788"/>
              <a:gd name="connsiteX113" fmla="*/ 1271 w 2208308"/>
              <a:gd name="connsiteY113" fmla="*/ 225000 h 507788"/>
              <a:gd name="connsiteX114" fmla="*/ 12987 w 2208308"/>
              <a:gd name="connsiteY114" fmla="*/ 120416 h 507788"/>
              <a:gd name="connsiteX115" fmla="*/ 72042 w 2208308"/>
              <a:gd name="connsiteY115" fmla="*/ 83078 h 507788"/>
              <a:gd name="connsiteX116" fmla="*/ 116714 w 2208308"/>
              <a:gd name="connsiteY116" fmla="*/ 62123 h 507788"/>
              <a:gd name="connsiteX117" fmla="*/ 180436 w 2208308"/>
              <a:gd name="connsiteY117" fmla="*/ 58408 h 507788"/>
              <a:gd name="connsiteX118" fmla="*/ 233014 w 2208308"/>
              <a:gd name="connsiteY118" fmla="*/ 58979 h 507788"/>
              <a:gd name="connsiteX119" fmla="*/ 352744 w 2208308"/>
              <a:gd name="connsiteY119" fmla="*/ 59170 h 507788"/>
              <a:gd name="connsiteX120" fmla="*/ 392844 w 2208308"/>
              <a:gd name="connsiteY120" fmla="*/ 49169 h 507788"/>
              <a:gd name="connsiteX121" fmla="*/ 471616 w 2208308"/>
              <a:gd name="connsiteY121" fmla="*/ 51836 h 507788"/>
              <a:gd name="connsiteX122" fmla="*/ 486665 w 2208308"/>
              <a:gd name="connsiteY122" fmla="*/ 53264 h 507788"/>
              <a:gd name="connsiteX123" fmla="*/ 501524 w 2208308"/>
              <a:gd name="connsiteY123" fmla="*/ 53836 h 507788"/>
              <a:gd name="connsiteX124" fmla="*/ 538386 w 2208308"/>
              <a:gd name="connsiteY124" fmla="*/ 48883 h 507788"/>
              <a:gd name="connsiteX125" fmla="*/ 586011 w 2208308"/>
              <a:gd name="connsiteY125" fmla="*/ 40787 h 507788"/>
              <a:gd name="connsiteX126" fmla="*/ 594583 w 2208308"/>
              <a:gd name="connsiteY126" fmla="*/ 40120 h 507788"/>
              <a:gd name="connsiteX127" fmla="*/ 640494 w 2208308"/>
              <a:gd name="connsiteY127" fmla="*/ 32786 h 507788"/>
              <a:gd name="connsiteX128" fmla="*/ 647638 w 2208308"/>
              <a:gd name="connsiteY128" fmla="*/ 29261 h 507788"/>
              <a:gd name="connsiteX129" fmla="*/ 655353 w 2208308"/>
              <a:gd name="connsiteY129" fmla="*/ 26213 h 507788"/>
              <a:gd name="connsiteX130" fmla="*/ 714027 w 2208308"/>
              <a:gd name="connsiteY130" fmla="*/ 26023 h 507788"/>
              <a:gd name="connsiteX131" fmla="*/ 757366 w 2208308"/>
              <a:gd name="connsiteY131" fmla="*/ 22022 h 507788"/>
              <a:gd name="connsiteX132" fmla="*/ 783369 w 2208308"/>
              <a:gd name="connsiteY132" fmla="*/ 19165 h 507788"/>
              <a:gd name="connsiteX133" fmla="*/ 879667 w 2208308"/>
              <a:gd name="connsiteY133" fmla="*/ 15355 h 507788"/>
              <a:gd name="connsiteX134" fmla="*/ 888144 w 2208308"/>
              <a:gd name="connsiteY134" fmla="*/ 17450 h 507788"/>
              <a:gd name="connsiteX135" fmla="*/ 953485 w 2208308"/>
              <a:gd name="connsiteY135" fmla="*/ 17927 h 507788"/>
              <a:gd name="connsiteX136" fmla="*/ 995491 w 2208308"/>
              <a:gd name="connsiteY136" fmla="*/ 17927 h 507788"/>
              <a:gd name="connsiteX137" fmla="*/ 1001777 w 2208308"/>
              <a:gd name="connsiteY137" fmla="*/ 18308 h 507788"/>
              <a:gd name="connsiteX138" fmla="*/ 1009397 w 2208308"/>
              <a:gd name="connsiteY138" fmla="*/ 14307 h 507788"/>
              <a:gd name="connsiteX139" fmla="*/ 1061404 w 2208308"/>
              <a:gd name="connsiteY139" fmla="*/ 18498 h 507788"/>
              <a:gd name="connsiteX140" fmla="*/ 1072929 w 2208308"/>
              <a:gd name="connsiteY140" fmla="*/ 20308 h 507788"/>
              <a:gd name="connsiteX141" fmla="*/ 1114172 w 2208308"/>
              <a:gd name="connsiteY141" fmla="*/ 18974 h 507788"/>
              <a:gd name="connsiteX142" fmla="*/ 1116649 w 2208308"/>
              <a:gd name="connsiteY142" fmla="*/ 17546 h 507788"/>
              <a:gd name="connsiteX143" fmla="*/ 1187610 w 2208308"/>
              <a:gd name="connsiteY143" fmla="*/ 27547 h 507788"/>
              <a:gd name="connsiteX144" fmla="*/ 1197516 w 2208308"/>
              <a:gd name="connsiteY144" fmla="*/ 10688 h 507788"/>
              <a:gd name="connsiteX145" fmla="*/ 1203040 w 2208308"/>
              <a:gd name="connsiteY145" fmla="*/ 12974 h 507788"/>
              <a:gd name="connsiteX146" fmla="*/ 1214851 w 2208308"/>
              <a:gd name="connsiteY146" fmla="*/ 13831 h 507788"/>
              <a:gd name="connsiteX147" fmla="*/ 1221138 w 2208308"/>
              <a:gd name="connsiteY147" fmla="*/ 8306 h 507788"/>
              <a:gd name="connsiteX148" fmla="*/ 1232187 w 2208308"/>
              <a:gd name="connsiteY148" fmla="*/ 115 h 507788"/>
              <a:gd name="connsiteX149" fmla="*/ 1281526 w 2208308"/>
              <a:gd name="connsiteY149" fmla="*/ 3639 h 507788"/>
              <a:gd name="connsiteX150" fmla="*/ 1281526 w 2208308"/>
              <a:gd name="connsiteY150" fmla="*/ 3639 h 507788"/>
              <a:gd name="connsiteX151" fmla="*/ 1332961 w 2208308"/>
              <a:gd name="connsiteY151" fmla="*/ 11354 h 507788"/>
              <a:gd name="connsiteX152" fmla="*/ 1346773 w 2208308"/>
              <a:gd name="connsiteY152" fmla="*/ 8783 h 507788"/>
              <a:gd name="connsiteX153" fmla="*/ 1357536 w 2208308"/>
              <a:gd name="connsiteY153" fmla="*/ 9640 h 507788"/>
              <a:gd name="connsiteX154" fmla="*/ 1381825 w 2208308"/>
              <a:gd name="connsiteY154" fmla="*/ 15926 h 507788"/>
              <a:gd name="connsiteX155" fmla="*/ 1407447 w 2208308"/>
              <a:gd name="connsiteY155" fmla="*/ 19070 h 507788"/>
              <a:gd name="connsiteX156" fmla="*/ 1435546 w 2208308"/>
              <a:gd name="connsiteY156" fmla="*/ 23546 h 507788"/>
              <a:gd name="connsiteX157" fmla="*/ 1457263 w 2208308"/>
              <a:gd name="connsiteY157" fmla="*/ 41453 h 507788"/>
              <a:gd name="connsiteX158" fmla="*/ 1469931 w 2208308"/>
              <a:gd name="connsiteY158" fmla="*/ 47835 h 507788"/>
              <a:gd name="connsiteX159" fmla="*/ 1480027 w 2208308"/>
              <a:gd name="connsiteY159" fmla="*/ 45454 h 507788"/>
              <a:gd name="connsiteX160" fmla="*/ 1489838 w 2208308"/>
              <a:gd name="connsiteY160" fmla="*/ 40787 h 507788"/>
              <a:gd name="connsiteX161" fmla="*/ 1500887 w 2208308"/>
              <a:gd name="connsiteY161" fmla="*/ 39644 h 507788"/>
              <a:gd name="connsiteX162" fmla="*/ 1533177 w 2208308"/>
              <a:gd name="connsiteY162" fmla="*/ 34119 h 507788"/>
              <a:gd name="connsiteX163" fmla="*/ 1541368 w 2208308"/>
              <a:gd name="connsiteY163" fmla="*/ 36310 h 507788"/>
              <a:gd name="connsiteX164" fmla="*/ 1543273 w 2208308"/>
              <a:gd name="connsiteY164" fmla="*/ 43454 h 507788"/>
              <a:gd name="connsiteX165" fmla="*/ 1532510 w 2208308"/>
              <a:gd name="connsiteY165" fmla="*/ 52502 h 507788"/>
              <a:gd name="connsiteX166" fmla="*/ 1537177 w 2208308"/>
              <a:gd name="connsiteY166" fmla="*/ 64599 h 507788"/>
              <a:gd name="connsiteX167" fmla="*/ 1537558 w 2208308"/>
              <a:gd name="connsiteY167" fmla="*/ 64790 h 507788"/>
              <a:gd name="connsiteX168" fmla="*/ 1566419 w 2208308"/>
              <a:gd name="connsiteY168" fmla="*/ 61170 h 507788"/>
              <a:gd name="connsiteX169" fmla="*/ 1609948 w 2208308"/>
              <a:gd name="connsiteY169" fmla="*/ 40596 h 507788"/>
              <a:gd name="connsiteX170" fmla="*/ 1618521 w 2208308"/>
              <a:gd name="connsiteY170" fmla="*/ 42882 h 507788"/>
              <a:gd name="connsiteX171" fmla="*/ 1640809 w 2208308"/>
              <a:gd name="connsiteY171" fmla="*/ 37548 h 507788"/>
              <a:gd name="connsiteX172" fmla="*/ 1660431 w 2208308"/>
              <a:gd name="connsiteY172" fmla="*/ 36024 h 507788"/>
              <a:gd name="connsiteX173" fmla="*/ 1666146 w 2208308"/>
              <a:gd name="connsiteY173" fmla="*/ 42120 h 507788"/>
              <a:gd name="connsiteX174" fmla="*/ 1680433 w 2208308"/>
              <a:gd name="connsiteY174" fmla="*/ 51455 h 507788"/>
              <a:gd name="connsiteX175" fmla="*/ 1704913 w 2208308"/>
              <a:gd name="connsiteY175" fmla="*/ 55741 h 507788"/>
              <a:gd name="connsiteX176" fmla="*/ 1723677 w 2208308"/>
              <a:gd name="connsiteY176" fmla="*/ 59932 h 507788"/>
              <a:gd name="connsiteX177" fmla="*/ 1736917 w 2208308"/>
              <a:gd name="connsiteY177" fmla="*/ 56979 h 507788"/>
              <a:gd name="connsiteX178" fmla="*/ 1753776 w 2208308"/>
              <a:gd name="connsiteY178" fmla="*/ 58979 h 507788"/>
              <a:gd name="connsiteX179" fmla="*/ 1769683 w 2208308"/>
              <a:gd name="connsiteY179" fmla="*/ 52788 h 507788"/>
              <a:gd name="connsiteX180" fmla="*/ 1790161 w 2208308"/>
              <a:gd name="connsiteY180" fmla="*/ 68028 h 507788"/>
              <a:gd name="connsiteX181" fmla="*/ 1799972 w 2208308"/>
              <a:gd name="connsiteY181" fmla="*/ 83840 h 507788"/>
              <a:gd name="connsiteX182" fmla="*/ 1822546 w 2208308"/>
              <a:gd name="connsiteY182" fmla="*/ 84602 h 507788"/>
              <a:gd name="connsiteX183" fmla="*/ 1832643 w 2208308"/>
              <a:gd name="connsiteY183" fmla="*/ 80030 h 507788"/>
              <a:gd name="connsiteX184" fmla="*/ 1858837 w 2208308"/>
              <a:gd name="connsiteY184" fmla="*/ 83173 h 507788"/>
              <a:gd name="connsiteX185" fmla="*/ 1864456 w 2208308"/>
              <a:gd name="connsiteY185" fmla="*/ 83744 h 507788"/>
              <a:gd name="connsiteX186" fmla="*/ 1866361 w 2208308"/>
              <a:gd name="connsiteY186" fmla="*/ 81649 h 507788"/>
              <a:gd name="connsiteX187" fmla="*/ 1920273 w 2208308"/>
              <a:gd name="connsiteY187" fmla="*/ 95841 h 507788"/>
              <a:gd name="connsiteX188" fmla="*/ 1930655 w 2208308"/>
              <a:gd name="connsiteY188" fmla="*/ 101937 h 507788"/>
              <a:gd name="connsiteX189" fmla="*/ 1972279 w 2208308"/>
              <a:gd name="connsiteY189" fmla="*/ 132798 h 507788"/>
              <a:gd name="connsiteX190" fmla="*/ 1980280 w 2208308"/>
              <a:gd name="connsiteY190" fmla="*/ 122416 h 507788"/>
              <a:gd name="connsiteX191" fmla="*/ 2017142 w 2208308"/>
              <a:gd name="connsiteY191" fmla="*/ 135751 h 507788"/>
              <a:gd name="connsiteX192" fmla="*/ 2018571 w 2208308"/>
              <a:gd name="connsiteY192" fmla="*/ 144038 h 507788"/>
              <a:gd name="connsiteX193" fmla="*/ 2024381 w 2208308"/>
              <a:gd name="connsiteY193" fmla="*/ 144800 h 507788"/>
              <a:gd name="connsiteX194" fmla="*/ 2040955 w 2208308"/>
              <a:gd name="connsiteY194" fmla="*/ 133846 h 507788"/>
              <a:gd name="connsiteX195" fmla="*/ 2036859 w 2208308"/>
              <a:gd name="connsiteY195" fmla="*/ 124702 h 507788"/>
              <a:gd name="connsiteX196" fmla="*/ 2081912 w 2208308"/>
              <a:gd name="connsiteY196" fmla="*/ 122702 h 507788"/>
              <a:gd name="connsiteX197" fmla="*/ 2079150 w 2208308"/>
              <a:gd name="connsiteY197" fmla="*/ 129750 h 507788"/>
              <a:gd name="connsiteX198" fmla="*/ 2068101 w 2208308"/>
              <a:gd name="connsiteY198" fmla="*/ 130226 h 507788"/>
              <a:gd name="connsiteX199" fmla="*/ 2053528 w 2208308"/>
              <a:gd name="connsiteY199" fmla="*/ 138989 h 507788"/>
              <a:gd name="connsiteX200" fmla="*/ 2060195 w 2208308"/>
              <a:gd name="connsiteY200" fmla="*/ 143276 h 507788"/>
              <a:gd name="connsiteX201" fmla="*/ 2086389 w 2208308"/>
              <a:gd name="connsiteY201" fmla="*/ 144228 h 507788"/>
              <a:gd name="connsiteX202" fmla="*/ 2112297 w 2208308"/>
              <a:gd name="connsiteY202" fmla="*/ 149467 h 507788"/>
              <a:gd name="connsiteX203" fmla="*/ 2131347 w 2208308"/>
              <a:gd name="connsiteY203" fmla="*/ 161183 h 507788"/>
              <a:gd name="connsiteX204" fmla="*/ 2117345 w 2208308"/>
              <a:gd name="connsiteY204" fmla="*/ 161945 h 507788"/>
              <a:gd name="connsiteX205" fmla="*/ 2073625 w 2208308"/>
              <a:gd name="connsiteY205" fmla="*/ 155087 h 507788"/>
              <a:gd name="connsiteX206" fmla="*/ 2064291 w 2208308"/>
              <a:gd name="connsiteY206" fmla="*/ 161468 h 507788"/>
              <a:gd name="connsiteX207" fmla="*/ 2070673 w 2208308"/>
              <a:gd name="connsiteY207" fmla="*/ 165755 h 507788"/>
              <a:gd name="connsiteX208" fmla="*/ 2066672 w 2208308"/>
              <a:gd name="connsiteY208" fmla="*/ 167850 h 507788"/>
              <a:gd name="connsiteX209" fmla="*/ 2041526 w 2208308"/>
              <a:gd name="connsiteY209" fmla="*/ 174041 h 507788"/>
              <a:gd name="connsiteX210" fmla="*/ 2019904 w 2208308"/>
              <a:gd name="connsiteY210" fmla="*/ 172517 h 507788"/>
              <a:gd name="connsiteX211" fmla="*/ 2007903 w 2208308"/>
              <a:gd name="connsiteY211" fmla="*/ 173565 h 507788"/>
              <a:gd name="connsiteX212" fmla="*/ 2010189 w 2208308"/>
              <a:gd name="connsiteY212" fmla="*/ 180995 h 507788"/>
              <a:gd name="connsiteX213" fmla="*/ 2006188 w 2208308"/>
              <a:gd name="connsiteY213" fmla="*/ 187186 h 507788"/>
              <a:gd name="connsiteX214" fmla="*/ 1996568 w 2208308"/>
              <a:gd name="connsiteY214" fmla="*/ 188329 h 507788"/>
              <a:gd name="connsiteX215" fmla="*/ 2012284 w 2208308"/>
              <a:gd name="connsiteY215" fmla="*/ 191472 h 507788"/>
              <a:gd name="connsiteX216" fmla="*/ 2018571 w 2208308"/>
              <a:gd name="connsiteY216" fmla="*/ 191853 h 507788"/>
              <a:gd name="connsiteX217" fmla="*/ 2024572 w 2208308"/>
              <a:gd name="connsiteY217" fmla="*/ 192520 h 507788"/>
              <a:gd name="connsiteX218" fmla="*/ 2047717 w 2208308"/>
              <a:gd name="connsiteY218" fmla="*/ 195187 h 507788"/>
              <a:gd name="connsiteX219" fmla="*/ 2064196 w 2208308"/>
              <a:gd name="connsiteY219" fmla="*/ 202426 h 507788"/>
              <a:gd name="connsiteX220" fmla="*/ 2066482 w 2208308"/>
              <a:gd name="connsiteY220" fmla="*/ 203759 h 507788"/>
              <a:gd name="connsiteX221" fmla="*/ 2098486 w 2208308"/>
              <a:gd name="connsiteY221" fmla="*/ 211951 h 507788"/>
              <a:gd name="connsiteX222" fmla="*/ 2117821 w 2208308"/>
              <a:gd name="connsiteY222" fmla="*/ 217380 h 507788"/>
              <a:gd name="connsiteX223" fmla="*/ 2120203 w 2208308"/>
              <a:gd name="connsiteY223" fmla="*/ 222143 h 507788"/>
              <a:gd name="connsiteX224" fmla="*/ 2118107 w 2208308"/>
              <a:gd name="connsiteY224" fmla="*/ 223667 h 507788"/>
              <a:gd name="connsiteX225" fmla="*/ 2076102 w 2208308"/>
              <a:gd name="connsiteY225" fmla="*/ 216713 h 507788"/>
              <a:gd name="connsiteX226" fmla="*/ 2075435 w 2208308"/>
              <a:gd name="connsiteY226" fmla="*/ 216713 h 507788"/>
              <a:gd name="connsiteX227" fmla="*/ 2104486 w 2208308"/>
              <a:gd name="connsiteY227" fmla="*/ 231858 h 507788"/>
              <a:gd name="connsiteX228" fmla="*/ 2129537 w 2208308"/>
              <a:gd name="connsiteY228" fmla="*/ 243479 h 507788"/>
              <a:gd name="connsiteX229" fmla="*/ 2134776 w 2208308"/>
              <a:gd name="connsiteY229" fmla="*/ 246717 h 507788"/>
              <a:gd name="connsiteX230" fmla="*/ 2123060 w 2208308"/>
              <a:gd name="connsiteY230" fmla="*/ 248717 h 507788"/>
              <a:gd name="connsiteX231" fmla="*/ 2088865 w 2208308"/>
              <a:gd name="connsiteY231" fmla="*/ 240240 h 507788"/>
              <a:gd name="connsiteX232" fmla="*/ 2052385 w 2208308"/>
              <a:gd name="connsiteY232" fmla="*/ 231953 h 507788"/>
              <a:gd name="connsiteX233" fmla="*/ 2032001 w 2208308"/>
              <a:gd name="connsiteY233" fmla="*/ 229286 h 507788"/>
              <a:gd name="connsiteX234" fmla="*/ 2015047 w 2208308"/>
              <a:gd name="connsiteY234" fmla="*/ 221381 h 507788"/>
              <a:gd name="connsiteX235" fmla="*/ 2007903 w 2208308"/>
              <a:gd name="connsiteY235" fmla="*/ 223571 h 507788"/>
              <a:gd name="connsiteX236" fmla="*/ 1977994 w 2208308"/>
              <a:gd name="connsiteY236" fmla="*/ 221095 h 507788"/>
              <a:gd name="connsiteX237" fmla="*/ 1977994 w 2208308"/>
              <a:gd name="connsiteY237" fmla="*/ 221095 h 507788"/>
              <a:gd name="connsiteX238" fmla="*/ 1970565 w 2208308"/>
              <a:gd name="connsiteY238" fmla="*/ 224714 h 507788"/>
              <a:gd name="connsiteX239" fmla="*/ 1979328 w 2208308"/>
              <a:gd name="connsiteY239" fmla="*/ 234335 h 507788"/>
              <a:gd name="connsiteX240" fmla="*/ 2006665 w 2208308"/>
              <a:gd name="connsiteY240" fmla="*/ 248432 h 507788"/>
              <a:gd name="connsiteX241" fmla="*/ 2017142 w 2208308"/>
              <a:gd name="connsiteY241" fmla="*/ 249575 h 507788"/>
              <a:gd name="connsiteX242" fmla="*/ 2021238 w 2208308"/>
              <a:gd name="connsiteY242" fmla="*/ 257290 h 507788"/>
              <a:gd name="connsiteX243" fmla="*/ 2036287 w 2208308"/>
              <a:gd name="connsiteY243" fmla="*/ 260052 h 507788"/>
              <a:gd name="connsiteX244" fmla="*/ 2055623 w 2208308"/>
              <a:gd name="connsiteY244" fmla="*/ 284341 h 507788"/>
              <a:gd name="connsiteX245" fmla="*/ 2075721 w 2208308"/>
              <a:gd name="connsiteY245" fmla="*/ 291008 h 507788"/>
              <a:gd name="connsiteX246" fmla="*/ 2092580 w 2208308"/>
              <a:gd name="connsiteY246" fmla="*/ 318440 h 507788"/>
              <a:gd name="connsiteX247" fmla="*/ 2110773 w 2208308"/>
              <a:gd name="connsiteY247" fmla="*/ 324727 h 507788"/>
              <a:gd name="connsiteX248" fmla="*/ 2121250 w 2208308"/>
              <a:gd name="connsiteY248" fmla="*/ 329299 h 507788"/>
              <a:gd name="connsiteX249" fmla="*/ 2150302 w 2208308"/>
              <a:gd name="connsiteY249" fmla="*/ 333871 h 507788"/>
              <a:gd name="connsiteX250" fmla="*/ 2171447 w 2208308"/>
              <a:gd name="connsiteY250" fmla="*/ 351397 h 507788"/>
              <a:gd name="connsiteX251" fmla="*/ 2168113 w 2208308"/>
              <a:gd name="connsiteY251" fmla="*/ 353207 h 507788"/>
              <a:gd name="connsiteX252" fmla="*/ 2133823 w 2208308"/>
              <a:gd name="connsiteY252" fmla="*/ 354445 h 507788"/>
              <a:gd name="connsiteX253" fmla="*/ 2124775 w 2208308"/>
              <a:gd name="connsiteY253" fmla="*/ 348254 h 507788"/>
              <a:gd name="connsiteX254" fmla="*/ 2116583 w 2208308"/>
              <a:gd name="connsiteY254" fmla="*/ 351016 h 507788"/>
              <a:gd name="connsiteX255" fmla="*/ 2107534 w 2208308"/>
              <a:gd name="connsiteY255" fmla="*/ 346158 h 507788"/>
              <a:gd name="connsiteX256" fmla="*/ 2097533 w 2208308"/>
              <a:gd name="connsiteY256" fmla="*/ 344539 h 507788"/>
              <a:gd name="connsiteX257" fmla="*/ 2086579 w 2208308"/>
              <a:gd name="connsiteY257" fmla="*/ 339681 h 507788"/>
              <a:gd name="connsiteX258" fmla="*/ 2060671 w 2208308"/>
              <a:gd name="connsiteY258" fmla="*/ 327870 h 507788"/>
              <a:gd name="connsiteX259" fmla="*/ 2062862 w 2208308"/>
              <a:gd name="connsiteY259" fmla="*/ 336157 h 507788"/>
              <a:gd name="connsiteX260" fmla="*/ 2043431 w 2208308"/>
              <a:gd name="connsiteY260" fmla="*/ 335966 h 507788"/>
              <a:gd name="connsiteX261" fmla="*/ 2030001 w 2208308"/>
              <a:gd name="connsiteY261" fmla="*/ 335204 h 507788"/>
              <a:gd name="connsiteX262" fmla="*/ 2045241 w 2208308"/>
              <a:gd name="connsiteY262" fmla="*/ 348920 h 507788"/>
              <a:gd name="connsiteX263" fmla="*/ 2057814 w 2208308"/>
              <a:gd name="connsiteY263" fmla="*/ 358636 h 507788"/>
              <a:gd name="connsiteX264" fmla="*/ 2071149 w 2208308"/>
              <a:gd name="connsiteY264" fmla="*/ 363017 h 507788"/>
              <a:gd name="connsiteX265" fmla="*/ 2086484 w 2208308"/>
              <a:gd name="connsiteY265" fmla="*/ 363779 h 507788"/>
              <a:gd name="connsiteX266" fmla="*/ 2091818 w 2208308"/>
              <a:gd name="connsiteY266" fmla="*/ 365875 h 507788"/>
              <a:gd name="connsiteX267" fmla="*/ 2110011 w 2208308"/>
              <a:gd name="connsiteY267" fmla="*/ 370161 h 507788"/>
              <a:gd name="connsiteX268" fmla="*/ 2130680 w 2208308"/>
              <a:gd name="connsiteY268" fmla="*/ 376257 h 507788"/>
              <a:gd name="connsiteX269" fmla="*/ 2152873 w 2208308"/>
              <a:gd name="connsiteY269" fmla="*/ 387211 h 507788"/>
              <a:gd name="connsiteX270" fmla="*/ 2174305 w 2208308"/>
              <a:gd name="connsiteY270" fmla="*/ 400451 h 507788"/>
              <a:gd name="connsiteX271" fmla="*/ 2162494 w 2208308"/>
              <a:gd name="connsiteY271" fmla="*/ 403213 h 507788"/>
              <a:gd name="connsiteX272" fmla="*/ 2144872 w 2208308"/>
              <a:gd name="connsiteY272" fmla="*/ 398450 h 507788"/>
              <a:gd name="connsiteX273" fmla="*/ 2126584 w 2208308"/>
              <a:gd name="connsiteY273" fmla="*/ 400641 h 507788"/>
              <a:gd name="connsiteX274" fmla="*/ 2134681 w 2208308"/>
              <a:gd name="connsiteY274" fmla="*/ 407594 h 507788"/>
              <a:gd name="connsiteX275" fmla="*/ 2145253 w 2208308"/>
              <a:gd name="connsiteY275" fmla="*/ 413024 h 507788"/>
              <a:gd name="connsiteX276" fmla="*/ 2154112 w 2208308"/>
              <a:gd name="connsiteY276" fmla="*/ 417881 h 507788"/>
              <a:gd name="connsiteX277" fmla="*/ 2163065 w 2208308"/>
              <a:gd name="connsiteY277" fmla="*/ 418453 h 507788"/>
              <a:gd name="connsiteX278" fmla="*/ 2181448 w 2208308"/>
              <a:gd name="connsiteY278" fmla="*/ 428930 h 507788"/>
              <a:gd name="connsiteX279" fmla="*/ 2208309 w 2208308"/>
              <a:gd name="connsiteY279" fmla="*/ 442170 h 507788"/>
              <a:gd name="connsiteX280" fmla="*/ 2182020 w 2208308"/>
              <a:gd name="connsiteY280" fmla="*/ 441789 h 507788"/>
              <a:gd name="connsiteX281" fmla="*/ 2168304 w 2208308"/>
              <a:gd name="connsiteY281" fmla="*/ 438836 h 507788"/>
              <a:gd name="connsiteX282" fmla="*/ 2156017 w 2208308"/>
              <a:gd name="connsiteY282" fmla="*/ 433407 h 507788"/>
              <a:gd name="connsiteX283" fmla="*/ 2126108 w 2208308"/>
              <a:gd name="connsiteY283" fmla="*/ 425501 h 507788"/>
              <a:gd name="connsiteX284" fmla="*/ 2108487 w 2208308"/>
              <a:gd name="connsiteY284" fmla="*/ 429311 h 507788"/>
              <a:gd name="connsiteX285" fmla="*/ 2052670 w 2208308"/>
              <a:gd name="connsiteY285" fmla="*/ 493034 h 507788"/>
              <a:gd name="connsiteX286" fmla="*/ 2084865 w 2208308"/>
              <a:gd name="connsiteY286" fmla="*/ 496558 h 507788"/>
              <a:gd name="connsiteX287" fmla="*/ 2042669 w 2208308"/>
              <a:gd name="connsiteY287" fmla="*/ 505607 h 507788"/>
              <a:gd name="connsiteX288" fmla="*/ 2019047 w 2208308"/>
              <a:gd name="connsiteY288" fmla="*/ 501701 h 507788"/>
              <a:gd name="connsiteX289" fmla="*/ 2004379 w 2208308"/>
              <a:gd name="connsiteY289" fmla="*/ 503702 h 507788"/>
              <a:gd name="connsiteX290" fmla="*/ 1979518 w 2208308"/>
              <a:gd name="connsiteY290" fmla="*/ 505416 h 507788"/>
              <a:gd name="connsiteX291" fmla="*/ 1965517 w 2208308"/>
              <a:gd name="connsiteY291" fmla="*/ 505702 h 507788"/>
              <a:gd name="connsiteX292" fmla="*/ 1942752 w 2208308"/>
              <a:gd name="connsiteY292" fmla="*/ 502082 h 507788"/>
              <a:gd name="connsiteX293" fmla="*/ 1936656 w 2208308"/>
              <a:gd name="connsiteY293" fmla="*/ 497320 h 507788"/>
              <a:gd name="connsiteX294" fmla="*/ 1941514 w 2208308"/>
              <a:gd name="connsiteY294" fmla="*/ 491414 h 507788"/>
              <a:gd name="connsiteX295" fmla="*/ 1973327 w 2208308"/>
              <a:gd name="connsiteY295" fmla="*/ 491033 h 507788"/>
              <a:gd name="connsiteX296" fmla="*/ 1982090 w 2208308"/>
              <a:gd name="connsiteY296" fmla="*/ 493510 h 507788"/>
              <a:gd name="connsiteX297" fmla="*/ 1994092 w 2208308"/>
              <a:gd name="connsiteY297" fmla="*/ 491986 h 507788"/>
              <a:gd name="connsiteX298" fmla="*/ 2025619 w 2208308"/>
              <a:gd name="connsiteY298" fmla="*/ 488271 h 507788"/>
              <a:gd name="connsiteX299" fmla="*/ 2052766 w 2208308"/>
              <a:gd name="connsiteY299" fmla="*/ 493129 h 507788"/>
              <a:gd name="connsiteX300" fmla="*/ 1926178 w 2208308"/>
              <a:gd name="connsiteY300" fmla="*/ 473222 h 507788"/>
              <a:gd name="connsiteX301" fmla="*/ 1936751 w 2208308"/>
              <a:gd name="connsiteY301" fmla="*/ 466649 h 507788"/>
              <a:gd name="connsiteX302" fmla="*/ 1948086 w 2208308"/>
              <a:gd name="connsiteY302" fmla="*/ 475508 h 507788"/>
              <a:gd name="connsiteX303" fmla="*/ 1926274 w 2208308"/>
              <a:gd name="connsiteY303" fmla="*/ 473126 h 507788"/>
              <a:gd name="connsiteX304" fmla="*/ 1973422 w 2208308"/>
              <a:gd name="connsiteY304" fmla="*/ 484461 h 507788"/>
              <a:gd name="connsiteX305" fmla="*/ 1956754 w 2208308"/>
              <a:gd name="connsiteY305" fmla="*/ 476651 h 507788"/>
              <a:gd name="connsiteX306" fmla="*/ 1977804 w 2208308"/>
              <a:gd name="connsiteY306" fmla="*/ 474460 h 507788"/>
              <a:gd name="connsiteX307" fmla="*/ 2021905 w 2208308"/>
              <a:gd name="connsiteY307" fmla="*/ 479413 h 507788"/>
              <a:gd name="connsiteX308" fmla="*/ 1973422 w 2208308"/>
              <a:gd name="connsiteY308" fmla="*/ 484461 h 507788"/>
              <a:gd name="connsiteX309" fmla="*/ 2091818 w 2208308"/>
              <a:gd name="connsiteY309" fmla="*/ 473984 h 507788"/>
              <a:gd name="connsiteX310" fmla="*/ 2079436 w 2208308"/>
              <a:gd name="connsiteY310" fmla="*/ 474174 h 507788"/>
              <a:gd name="connsiteX311" fmla="*/ 2074292 w 2208308"/>
              <a:gd name="connsiteY311" fmla="*/ 460744 h 507788"/>
              <a:gd name="connsiteX312" fmla="*/ 2091818 w 2208308"/>
              <a:gd name="connsiteY312" fmla="*/ 473984 h 5077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</a:cxnLst>
            <a:rect l="l" t="t" r="r" b="b"/>
            <a:pathLst>
              <a:path w="2208308" h="507788">
                <a:moveTo>
                  <a:pt x="2050099" y="263195"/>
                </a:moveTo>
                <a:cubicBezTo>
                  <a:pt x="2049146" y="259481"/>
                  <a:pt x="2052289" y="255194"/>
                  <a:pt x="2056195" y="254813"/>
                </a:cubicBezTo>
                <a:cubicBezTo>
                  <a:pt x="2060100" y="254432"/>
                  <a:pt x="2064005" y="254813"/>
                  <a:pt x="2067910" y="255004"/>
                </a:cubicBezTo>
                <a:cubicBezTo>
                  <a:pt x="2070387" y="252432"/>
                  <a:pt x="2072768" y="249670"/>
                  <a:pt x="2075530" y="247479"/>
                </a:cubicBezTo>
                <a:cubicBezTo>
                  <a:pt x="2076483" y="246812"/>
                  <a:pt x="2079150" y="247479"/>
                  <a:pt x="2080293" y="248336"/>
                </a:cubicBezTo>
                <a:cubicBezTo>
                  <a:pt x="2081436" y="249289"/>
                  <a:pt x="2099248" y="261195"/>
                  <a:pt x="2099057" y="262719"/>
                </a:cubicBezTo>
                <a:lnTo>
                  <a:pt x="2099057" y="264910"/>
                </a:lnTo>
                <a:cubicBezTo>
                  <a:pt x="2103343" y="265481"/>
                  <a:pt x="2105915" y="268053"/>
                  <a:pt x="2107820" y="271577"/>
                </a:cubicBezTo>
                <a:cubicBezTo>
                  <a:pt x="2113535" y="272625"/>
                  <a:pt x="2119250" y="273482"/>
                  <a:pt x="2124870" y="274625"/>
                </a:cubicBezTo>
                <a:cubicBezTo>
                  <a:pt x="2127156" y="275102"/>
                  <a:pt x="2129347" y="280721"/>
                  <a:pt x="2127823" y="281674"/>
                </a:cubicBezTo>
                <a:cubicBezTo>
                  <a:pt x="2126299" y="282626"/>
                  <a:pt x="2123917" y="283960"/>
                  <a:pt x="2122870" y="283388"/>
                </a:cubicBezTo>
                <a:cubicBezTo>
                  <a:pt x="2112392" y="277673"/>
                  <a:pt x="2100867" y="276911"/>
                  <a:pt x="2089437" y="275483"/>
                </a:cubicBezTo>
                <a:cubicBezTo>
                  <a:pt x="2077816" y="273768"/>
                  <a:pt x="2066005" y="272435"/>
                  <a:pt x="2054480" y="270149"/>
                </a:cubicBezTo>
                <a:cubicBezTo>
                  <a:pt x="2052575" y="269768"/>
                  <a:pt x="2050765" y="265862"/>
                  <a:pt x="2050099" y="263291"/>
                </a:cubicBezTo>
                <a:close/>
                <a:moveTo>
                  <a:pt x="2164589" y="284722"/>
                </a:moveTo>
                <a:cubicBezTo>
                  <a:pt x="2141348" y="278626"/>
                  <a:pt x="2141348" y="278816"/>
                  <a:pt x="2131633" y="282531"/>
                </a:cubicBezTo>
                <a:cubicBezTo>
                  <a:pt x="2135824" y="285960"/>
                  <a:pt x="2140777" y="285579"/>
                  <a:pt x="2145444" y="286055"/>
                </a:cubicBezTo>
                <a:cubicBezTo>
                  <a:pt x="2150968" y="286532"/>
                  <a:pt x="2156588" y="288913"/>
                  <a:pt x="2164589" y="284722"/>
                </a:cubicBezTo>
                <a:close/>
                <a:moveTo>
                  <a:pt x="2059338" y="175565"/>
                </a:moveTo>
                <a:cubicBezTo>
                  <a:pt x="2054766" y="178709"/>
                  <a:pt x="2050861" y="182995"/>
                  <a:pt x="2046193" y="187186"/>
                </a:cubicBezTo>
                <a:cubicBezTo>
                  <a:pt x="2073340" y="193758"/>
                  <a:pt x="2081531" y="194520"/>
                  <a:pt x="2096009" y="191948"/>
                </a:cubicBezTo>
                <a:cubicBezTo>
                  <a:pt x="2091723" y="186805"/>
                  <a:pt x="2084770" y="189567"/>
                  <a:pt x="2080102" y="186519"/>
                </a:cubicBezTo>
                <a:cubicBezTo>
                  <a:pt x="2075435" y="183376"/>
                  <a:pt x="2072006" y="178518"/>
                  <a:pt x="2067434" y="175375"/>
                </a:cubicBezTo>
                <a:cubicBezTo>
                  <a:pt x="2065529" y="174137"/>
                  <a:pt x="2061338" y="174232"/>
                  <a:pt x="2059338" y="175565"/>
                </a:cubicBezTo>
                <a:close/>
                <a:moveTo>
                  <a:pt x="2109154" y="429502"/>
                </a:moveTo>
                <a:cubicBezTo>
                  <a:pt x="2124203" y="429597"/>
                  <a:pt x="2125346" y="429216"/>
                  <a:pt x="2138300" y="435979"/>
                </a:cubicBezTo>
                <a:cubicBezTo>
                  <a:pt x="2140777" y="446266"/>
                  <a:pt x="2161541" y="445504"/>
                  <a:pt x="2164589" y="453505"/>
                </a:cubicBezTo>
                <a:cubicBezTo>
                  <a:pt x="2165637" y="456267"/>
                  <a:pt x="2187640" y="460934"/>
                  <a:pt x="2187163" y="463506"/>
                </a:cubicBezTo>
                <a:cubicBezTo>
                  <a:pt x="2186687" y="465697"/>
                  <a:pt x="2158588" y="462649"/>
                  <a:pt x="2149349" y="460934"/>
                </a:cubicBezTo>
                <a:cubicBezTo>
                  <a:pt x="2148587" y="460839"/>
                  <a:pt x="2147254" y="461220"/>
                  <a:pt x="2146492" y="460744"/>
                </a:cubicBezTo>
                <a:cubicBezTo>
                  <a:pt x="2127823" y="450266"/>
                  <a:pt x="2126394" y="456267"/>
                  <a:pt x="2106201" y="453124"/>
                </a:cubicBezTo>
                <a:cubicBezTo>
                  <a:pt x="2101153" y="452362"/>
                  <a:pt x="2074673" y="446266"/>
                  <a:pt x="2072292" y="441313"/>
                </a:cubicBezTo>
                <a:cubicBezTo>
                  <a:pt x="2068387" y="440837"/>
                  <a:pt x="2069244" y="441122"/>
                  <a:pt x="2065339" y="440646"/>
                </a:cubicBezTo>
                <a:cubicBezTo>
                  <a:pt x="2063338" y="440360"/>
                  <a:pt x="2058004" y="441313"/>
                  <a:pt x="2056004" y="441122"/>
                </a:cubicBezTo>
                <a:lnTo>
                  <a:pt x="2042955" y="437693"/>
                </a:lnTo>
                <a:cubicBezTo>
                  <a:pt x="2036573" y="436550"/>
                  <a:pt x="2029048" y="437979"/>
                  <a:pt x="2025905" y="429788"/>
                </a:cubicBezTo>
                <a:cubicBezTo>
                  <a:pt x="2025905" y="429788"/>
                  <a:pt x="2023524" y="426073"/>
                  <a:pt x="2022571" y="427787"/>
                </a:cubicBezTo>
                <a:cubicBezTo>
                  <a:pt x="2021619" y="429502"/>
                  <a:pt x="2021809" y="431978"/>
                  <a:pt x="2022381" y="437789"/>
                </a:cubicBezTo>
                <a:cubicBezTo>
                  <a:pt x="2022952" y="443599"/>
                  <a:pt x="2023905" y="443123"/>
                  <a:pt x="2028286" y="451314"/>
                </a:cubicBezTo>
                <a:cubicBezTo>
                  <a:pt x="2032763" y="459506"/>
                  <a:pt x="2050194" y="458458"/>
                  <a:pt x="2050194" y="458458"/>
                </a:cubicBezTo>
                <a:cubicBezTo>
                  <a:pt x="2055528" y="459791"/>
                  <a:pt x="2060957" y="461030"/>
                  <a:pt x="2066101" y="463030"/>
                </a:cubicBezTo>
                <a:cubicBezTo>
                  <a:pt x="2068291" y="463887"/>
                  <a:pt x="2071816" y="465316"/>
                  <a:pt x="2069530" y="470555"/>
                </a:cubicBezTo>
                <a:lnTo>
                  <a:pt x="2062862" y="471888"/>
                </a:lnTo>
                <a:cubicBezTo>
                  <a:pt x="2051242" y="474079"/>
                  <a:pt x="2052289" y="470269"/>
                  <a:pt x="2047051" y="470555"/>
                </a:cubicBezTo>
                <a:cubicBezTo>
                  <a:pt x="2043241" y="470745"/>
                  <a:pt x="2039431" y="470745"/>
                  <a:pt x="2035621" y="470555"/>
                </a:cubicBezTo>
                <a:cubicBezTo>
                  <a:pt x="2032573" y="470364"/>
                  <a:pt x="2008855" y="461696"/>
                  <a:pt x="2008474" y="458553"/>
                </a:cubicBezTo>
                <a:cubicBezTo>
                  <a:pt x="2007808" y="452743"/>
                  <a:pt x="1999330" y="464744"/>
                  <a:pt x="1994092" y="460934"/>
                </a:cubicBezTo>
                <a:lnTo>
                  <a:pt x="1981042" y="459125"/>
                </a:lnTo>
                <a:cubicBezTo>
                  <a:pt x="1967041" y="442361"/>
                  <a:pt x="1954944" y="461030"/>
                  <a:pt x="1945800" y="458172"/>
                </a:cubicBezTo>
                <a:cubicBezTo>
                  <a:pt x="1945800" y="458172"/>
                  <a:pt x="1947895" y="454172"/>
                  <a:pt x="1930465" y="456077"/>
                </a:cubicBezTo>
                <a:cubicBezTo>
                  <a:pt x="1913034" y="457982"/>
                  <a:pt x="1921606" y="459506"/>
                  <a:pt x="1917892" y="462744"/>
                </a:cubicBezTo>
                <a:cubicBezTo>
                  <a:pt x="1914272" y="465983"/>
                  <a:pt x="1911319" y="464554"/>
                  <a:pt x="1909605" y="463316"/>
                </a:cubicBezTo>
                <a:cubicBezTo>
                  <a:pt x="1899032" y="455505"/>
                  <a:pt x="1892365" y="459029"/>
                  <a:pt x="1882649" y="465792"/>
                </a:cubicBezTo>
                <a:cubicBezTo>
                  <a:pt x="1873410" y="472174"/>
                  <a:pt x="1873600" y="462458"/>
                  <a:pt x="1861599" y="463030"/>
                </a:cubicBezTo>
                <a:cubicBezTo>
                  <a:pt x="1859884" y="468840"/>
                  <a:pt x="1869886" y="466840"/>
                  <a:pt x="1870457" y="471317"/>
                </a:cubicBezTo>
                <a:lnTo>
                  <a:pt x="1886459" y="481985"/>
                </a:lnTo>
                <a:lnTo>
                  <a:pt x="1902461" y="482747"/>
                </a:lnTo>
                <a:cubicBezTo>
                  <a:pt x="1914844" y="485414"/>
                  <a:pt x="1921225" y="485318"/>
                  <a:pt x="1933513" y="483318"/>
                </a:cubicBezTo>
                <a:cubicBezTo>
                  <a:pt x="1937418" y="482651"/>
                  <a:pt x="1938561" y="488081"/>
                  <a:pt x="1933513" y="492176"/>
                </a:cubicBezTo>
                <a:cubicBezTo>
                  <a:pt x="1933989" y="492748"/>
                  <a:pt x="1927131" y="498463"/>
                  <a:pt x="1926083" y="498749"/>
                </a:cubicBezTo>
                <a:cubicBezTo>
                  <a:pt x="1919701" y="500654"/>
                  <a:pt x="1916939" y="498749"/>
                  <a:pt x="1911129" y="502844"/>
                </a:cubicBezTo>
                <a:cubicBezTo>
                  <a:pt x="1904461" y="507607"/>
                  <a:pt x="1895508" y="509702"/>
                  <a:pt x="1886459" y="505607"/>
                </a:cubicBezTo>
                <a:lnTo>
                  <a:pt x="1847978" y="503702"/>
                </a:lnTo>
                <a:cubicBezTo>
                  <a:pt x="1840930" y="501320"/>
                  <a:pt x="1831690" y="500273"/>
                  <a:pt x="1825118" y="496463"/>
                </a:cubicBezTo>
                <a:cubicBezTo>
                  <a:pt x="1819403" y="493129"/>
                  <a:pt x="1811593" y="495129"/>
                  <a:pt x="1806925" y="489224"/>
                </a:cubicBezTo>
                <a:cubicBezTo>
                  <a:pt x="1806354" y="488462"/>
                  <a:pt x="1805878" y="487604"/>
                  <a:pt x="1805306" y="486842"/>
                </a:cubicBezTo>
                <a:cubicBezTo>
                  <a:pt x="1801210" y="488081"/>
                  <a:pt x="1778065" y="489224"/>
                  <a:pt x="1773969" y="490462"/>
                </a:cubicBezTo>
                <a:cubicBezTo>
                  <a:pt x="1771969" y="490176"/>
                  <a:pt x="1769968" y="489986"/>
                  <a:pt x="1767873" y="489700"/>
                </a:cubicBezTo>
                <a:cubicBezTo>
                  <a:pt x="1761777" y="490748"/>
                  <a:pt x="1756824" y="495986"/>
                  <a:pt x="1750061" y="494653"/>
                </a:cubicBezTo>
                <a:cubicBezTo>
                  <a:pt x="1740536" y="496177"/>
                  <a:pt x="1731202" y="495224"/>
                  <a:pt x="1722058" y="492081"/>
                </a:cubicBezTo>
                <a:cubicBezTo>
                  <a:pt x="1720153" y="491414"/>
                  <a:pt x="1717867" y="489795"/>
                  <a:pt x="1716533" y="490367"/>
                </a:cubicBezTo>
                <a:cubicBezTo>
                  <a:pt x="1703389" y="495701"/>
                  <a:pt x="1691959" y="486176"/>
                  <a:pt x="1679386" y="486366"/>
                </a:cubicBezTo>
                <a:cubicBezTo>
                  <a:pt x="1674623" y="491319"/>
                  <a:pt x="1668908" y="494653"/>
                  <a:pt x="1662431" y="497129"/>
                </a:cubicBezTo>
                <a:cubicBezTo>
                  <a:pt x="1656716" y="499320"/>
                  <a:pt x="1650906" y="499892"/>
                  <a:pt x="1645477" y="497510"/>
                </a:cubicBezTo>
                <a:cubicBezTo>
                  <a:pt x="1632808" y="491795"/>
                  <a:pt x="1619664" y="490557"/>
                  <a:pt x="1605948" y="490938"/>
                </a:cubicBezTo>
                <a:lnTo>
                  <a:pt x="1512603" y="489319"/>
                </a:lnTo>
                <a:cubicBezTo>
                  <a:pt x="1508126" y="488366"/>
                  <a:pt x="1502983" y="489509"/>
                  <a:pt x="1498411" y="490748"/>
                </a:cubicBezTo>
                <a:cubicBezTo>
                  <a:pt x="1489933" y="493034"/>
                  <a:pt x="1481647" y="496463"/>
                  <a:pt x="1472979" y="491605"/>
                </a:cubicBezTo>
                <a:cubicBezTo>
                  <a:pt x="1460501" y="494081"/>
                  <a:pt x="1448023" y="494177"/>
                  <a:pt x="1435450" y="491986"/>
                </a:cubicBezTo>
                <a:cubicBezTo>
                  <a:pt x="1432879" y="491510"/>
                  <a:pt x="1429831" y="493034"/>
                  <a:pt x="1427068" y="493891"/>
                </a:cubicBezTo>
                <a:cubicBezTo>
                  <a:pt x="1420591" y="495891"/>
                  <a:pt x="1414210" y="498177"/>
                  <a:pt x="1407733" y="500273"/>
                </a:cubicBezTo>
                <a:cubicBezTo>
                  <a:pt x="1402018" y="495415"/>
                  <a:pt x="1396874" y="491033"/>
                  <a:pt x="1391731" y="486652"/>
                </a:cubicBezTo>
                <a:cubicBezTo>
                  <a:pt x="1381825" y="485795"/>
                  <a:pt x="1372204" y="485414"/>
                  <a:pt x="1364965" y="494367"/>
                </a:cubicBezTo>
                <a:cubicBezTo>
                  <a:pt x="1358774" y="502082"/>
                  <a:pt x="1349630" y="502082"/>
                  <a:pt x="1341058" y="502940"/>
                </a:cubicBezTo>
                <a:cubicBezTo>
                  <a:pt x="1339153" y="502178"/>
                  <a:pt x="1336867" y="501892"/>
                  <a:pt x="1335628" y="500558"/>
                </a:cubicBezTo>
                <a:cubicBezTo>
                  <a:pt x="1322865" y="487033"/>
                  <a:pt x="1307625" y="487223"/>
                  <a:pt x="1292480" y="494081"/>
                </a:cubicBezTo>
                <a:lnTo>
                  <a:pt x="939769" y="503606"/>
                </a:lnTo>
                <a:cubicBezTo>
                  <a:pt x="931959" y="503702"/>
                  <a:pt x="875190" y="498653"/>
                  <a:pt x="854330" y="499415"/>
                </a:cubicBezTo>
                <a:lnTo>
                  <a:pt x="590869" y="498939"/>
                </a:lnTo>
                <a:cubicBezTo>
                  <a:pt x="586582" y="501892"/>
                  <a:pt x="581725" y="502082"/>
                  <a:pt x="576867" y="501511"/>
                </a:cubicBezTo>
                <a:cubicBezTo>
                  <a:pt x="571057" y="500844"/>
                  <a:pt x="565246" y="499987"/>
                  <a:pt x="559436" y="499225"/>
                </a:cubicBezTo>
                <a:cubicBezTo>
                  <a:pt x="543720" y="502178"/>
                  <a:pt x="528099" y="504083"/>
                  <a:pt x="512287" y="499701"/>
                </a:cubicBezTo>
                <a:cubicBezTo>
                  <a:pt x="500095" y="498749"/>
                  <a:pt x="465139" y="506369"/>
                  <a:pt x="459233" y="505797"/>
                </a:cubicBezTo>
                <a:cubicBezTo>
                  <a:pt x="438564" y="503892"/>
                  <a:pt x="417895" y="502082"/>
                  <a:pt x="397321" y="499701"/>
                </a:cubicBezTo>
                <a:cubicBezTo>
                  <a:pt x="384652" y="498272"/>
                  <a:pt x="372175" y="497987"/>
                  <a:pt x="359316" y="498844"/>
                </a:cubicBezTo>
                <a:cubicBezTo>
                  <a:pt x="342838" y="499987"/>
                  <a:pt x="325978" y="496082"/>
                  <a:pt x="309310" y="494367"/>
                </a:cubicBezTo>
                <a:cubicBezTo>
                  <a:pt x="303404" y="493700"/>
                  <a:pt x="297499" y="492938"/>
                  <a:pt x="291593" y="492272"/>
                </a:cubicBezTo>
                <a:cubicBezTo>
                  <a:pt x="279877" y="490748"/>
                  <a:pt x="271495" y="494843"/>
                  <a:pt x="259780" y="493319"/>
                </a:cubicBezTo>
                <a:cubicBezTo>
                  <a:pt x="256636" y="492557"/>
                  <a:pt x="209583" y="495034"/>
                  <a:pt x="197296" y="497415"/>
                </a:cubicBezTo>
                <a:cubicBezTo>
                  <a:pt x="180246" y="506845"/>
                  <a:pt x="145289" y="495701"/>
                  <a:pt x="125668" y="498749"/>
                </a:cubicBezTo>
                <a:cubicBezTo>
                  <a:pt x="116809" y="500177"/>
                  <a:pt x="108427" y="499892"/>
                  <a:pt x="99760" y="499130"/>
                </a:cubicBezTo>
                <a:cubicBezTo>
                  <a:pt x="97378" y="500558"/>
                  <a:pt x="94997" y="503035"/>
                  <a:pt x="92521" y="503225"/>
                </a:cubicBezTo>
                <a:cubicBezTo>
                  <a:pt x="87758" y="503511"/>
                  <a:pt x="82234" y="503797"/>
                  <a:pt x="78328" y="501701"/>
                </a:cubicBezTo>
                <a:cubicBezTo>
                  <a:pt x="67946" y="496272"/>
                  <a:pt x="60898" y="506845"/>
                  <a:pt x="49944" y="503702"/>
                </a:cubicBezTo>
                <a:cubicBezTo>
                  <a:pt x="46420" y="502654"/>
                  <a:pt x="43372" y="499796"/>
                  <a:pt x="40038" y="497796"/>
                </a:cubicBezTo>
                <a:cubicBezTo>
                  <a:pt x="31275" y="496748"/>
                  <a:pt x="25655" y="492367"/>
                  <a:pt x="24131" y="483223"/>
                </a:cubicBezTo>
                <a:cubicBezTo>
                  <a:pt x="22988" y="476460"/>
                  <a:pt x="21178" y="469793"/>
                  <a:pt x="20416" y="463030"/>
                </a:cubicBezTo>
                <a:cubicBezTo>
                  <a:pt x="19750" y="457982"/>
                  <a:pt x="18702" y="453124"/>
                  <a:pt x="15178" y="449600"/>
                </a:cubicBezTo>
                <a:cubicBezTo>
                  <a:pt x="6700" y="441313"/>
                  <a:pt x="5653" y="430740"/>
                  <a:pt x="5938" y="420548"/>
                </a:cubicBezTo>
                <a:lnTo>
                  <a:pt x="10415" y="397593"/>
                </a:lnTo>
                <a:cubicBezTo>
                  <a:pt x="16225" y="395593"/>
                  <a:pt x="21274" y="388068"/>
                  <a:pt x="20321" y="381496"/>
                </a:cubicBezTo>
                <a:cubicBezTo>
                  <a:pt x="18797" y="370066"/>
                  <a:pt x="20321" y="358064"/>
                  <a:pt x="12225" y="347873"/>
                </a:cubicBezTo>
                <a:cubicBezTo>
                  <a:pt x="12225" y="347873"/>
                  <a:pt x="1747" y="299295"/>
                  <a:pt x="6605" y="265862"/>
                </a:cubicBezTo>
                <a:cubicBezTo>
                  <a:pt x="11463" y="232430"/>
                  <a:pt x="7367" y="274911"/>
                  <a:pt x="1271" y="225000"/>
                </a:cubicBezTo>
                <a:cubicBezTo>
                  <a:pt x="-4825" y="175184"/>
                  <a:pt x="12987" y="120416"/>
                  <a:pt x="12987" y="120416"/>
                </a:cubicBezTo>
                <a:cubicBezTo>
                  <a:pt x="34132" y="66599"/>
                  <a:pt x="48896" y="89840"/>
                  <a:pt x="72042" y="83078"/>
                </a:cubicBezTo>
                <a:cubicBezTo>
                  <a:pt x="95283" y="76315"/>
                  <a:pt x="106046" y="65742"/>
                  <a:pt x="116714" y="62123"/>
                </a:cubicBezTo>
                <a:cubicBezTo>
                  <a:pt x="121762" y="60408"/>
                  <a:pt x="174721" y="57836"/>
                  <a:pt x="180436" y="58408"/>
                </a:cubicBezTo>
                <a:cubicBezTo>
                  <a:pt x="180436" y="58408"/>
                  <a:pt x="213679" y="48121"/>
                  <a:pt x="233014" y="58979"/>
                </a:cubicBezTo>
                <a:cubicBezTo>
                  <a:pt x="252350" y="69933"/>
                  <a:pt x="348172" y="66599"/>
                  <a:pt x="352744" y="59170"/>
                </a:cubicBezTo>
                <a:cubicBezTo>
                  <a:pt x="362364" y="54407"/>
                  <a:pt x="382557" y="50693"/>
                  <a:pt x="392844" y="49169"/>
                </a:cubicBezTo>
                <a:cubicBezTo>
                  <a:pt x="399035" y="47835"/>
                  <a:pt x="461900" y="49835"/>
                  <a:pt x="471616" y="51836"/>
                </a:cubicBezTo>
                <a:cubicBezTo>
                  <a:pt x="475616" y="50693"/>
                  <a:pt x="482855" y="51169"/>
                  <a:pt x="486665" y="53264"/>
                </a:cubicBezTo>
                <a:lnTo>
                  <a:pt x="501524" y="53836"/>
                </a:lnTo>
                <a:cubicBezTo>
                  <a:pt x="514573" y="56884"/>
                  <a:pt x="526765" y="54693"/>
                  <a:pt x="538386" y="48883"/>
                </a:cubicBezTo>
                <a:cubicBezTo>
                  <a:pt x="553435" y="41263"/>
                  <a:pt x="568675" y="35643"/>
                  <a:pt x="586011" y="40787"/>
                </a:cubicBezTo>
                <a:cubicBezTo>
                  <a:pt x="588583" y="41549"/>
                  <a:pt x="591726" y="40501"/>
                  <a:pt x="594583" y="40120"/>
                </a:cubicBezTo>
                <a:cubicBezTo>
                  <a:pt x="609919" y="37739"/>
                  <a:pt x="625159" y="35262"/>
                  <a:pt x="640494" y="32786"/>
                </a:cubicBezTo>
                <a:cubicBezTo>
                  <a:pt x="642113" y="29928"/>
                  <a:pt x="644685" y="29166"/>
                  <a:pt x="647638" y="29261"/>
                </a:cubicBezTo>
                <a:cubicBezTo>
                  <a:pt x="650209" y="28214"/>
                  <a:pt x="652781" y="26023"/>
                  <a:pt x="655353" y="26213"/>
                </a:cubicBezTo>
                <a:lnTo>
                  <a:pt x="714027" y="26023"/>
                </a:lnTo>
                <a:cubicBezTo>
                  <a:pt x="728410" y="24023"/>
                  <a:pt x="742221" y="19355"/>
                  <a:pt x="757366" y="22022"/>
                </a:cubicBezTo>
                <a:cubicBezTo>
                  <a:pt x="765652" y="23451"/>
                  <a:pt x="774701" y="20403"/>
                  <a:pt x="783369" y="19165"/>
                </a:cubicBezTo>
                <a:cubicBezTo>
                  <a:pt x="796228" y="17355"/>
                  <a:pt x="867379" y="14307"/>
                  <a:pt x="879667" y="15355"/>
                </a:cubicBezTo>
                <a:cubicBezTo>
                  <a:pt x="882524" y="15641"/>
                  <a:pt x="885382" y="16688"/>
                  <a:pt x="888144" y="17450"/>
                </a:cubicBezTo>
                <a:cubicBezTo>
                  <a:pt x="909956" y="12783"/>
                  <a:pt x="931768" y="9735"/>
                  <a:pt x="953485" y="17927"/>
                </a:cubicBezTo>
                <a:cubicBezTo>
                  <a:pt x="967487" y="10402"/>
                  <a:pt x="981489" y="10021"/>
                  <a:pt x="995491" y="17927"/>
                </a:cubicBezTo>
                <a:cubicBezTo>
                  <a:pt x="997586" y="18022"/>
                  <a:pt x="999682" y="18212"/>
                  <a:pt x="1001777" y="18308"/>
                </a:cubicBezTo>
                <a:cubicBezTo>
                  <a:pt x="1004349" y="16879"/>
                  <a:pt x="1006825" y="14498"/>
                  <a:pt x="1009397" y="14307"/>
                </a:cubicBezTo>
                <a:cubicBezTo>
                  <a:pt x="1026923" y="13259"/>
                  <a:pt x="1044544" y="10497"/>
                  <a:pt x="1061404" y="18498"/>
                </a:cubicBezTo>
                <a:cubicBezTo>
                  <a:pt x="1064833" y="20117"/>
                  <a:pt x="1069119" y="19736"/>
                  <a:pt x="1072929" y="20308"/>
                </a:cubicBezTo>
                <a:cubicBezTo>
                  <a:pt x="1086550" y="15450"/>
                  <a:pt x="1100361" y="17831"/>
                  <a:pt x="1114172" y="18974"/>
                </a:cubicBezTo>
                <a:cubicBezTo>
                  <a:pt x="1115029" y="18498"/>
                  <a:pt x="1115791" y="17641"/>
                  <a:pt x="1116649" y="17546"/>
                </a:cubicBezTo>
                <a:cubicBezTo>
                  <a:pt x="1137794" y="14498"/>
                  <a:pt x="1171227" y="19260"/>
                  <a:pt x="1187610" y="27547"/>
                </a:cubicBezTo>
                <a:cubicBezTo>
                  <a:pt x="1193801" y="30690"/>
                  <a:pt x="1194277" y="4401"/>
                  <a:pt x="1197516" y="10688"/>
                </a:cubicBezTo>
                <a:cubicBezTo>
                  <a:pt x="1199326" y="11450"/>
                  <a:pt x="1201231" y="12212"/>
                  <a:pt x="1203040" y="12974"/>
                </a:cubicBezTo>
                <a:cubicBezTo>
                  <a:pt x="1206946" y="13259"/>
                  <a:pt x="1210946" y="13545"/>
                  <a:pt x="1214851" y="13831"/>
                </a:cubicBezTo>
                <a:cubicBezTo>
                  <a:pt x="1216947" y="12021"/>
                  <a:pt x="1219042" y="10116"/>
                  <a:pt x="1221138" y="8306"/>
                </a:cubicBezTo>
                <a:cubicBezTo>
                  <a:pt x="1222757" y="2877"/>
                  <a:pt x="1227329" y="1067"/>
                  <a:pt x="1232187" y="115"/>
                </a:cubicBezTo>
                <a:cubicBezTo>
                  <a:pt x="1235997" y="-647"/>
                  <a:pt x="1268858" y="2591"/>
                  <a:pt x="1281526" y="3639"/>
                </a:cubicBezTo>
                <a:lnTo>
                  <a:pt x="1281526" y="3639"/>
                </a:lnTo>
                <a:cubicBezTo>
                  <a:pt x="1285527" y="115"/>
                  <a:pt x="1320198" y="8021"/>
                  <a:pt x="1332961" y="11354"/>
                </a:cubicBezTo>
                <a:cubicBezTo>
                  <a:pt x="1337533" y="10497"/>
                  <a:pt x="1342201" y="9830"/>
                  <a:pt x="1346773" y="8783"/>
                </a:cubicBezTo>
                <a:cubicBezTo>
                  <a:pt x="1350583" y="7830"/>
                  <a:pt x="1354297" y="7163"/>
                  <a:pt x="1357536" y="9640"/>
                </a:cubicBezTo>
                <a:cubicBezTo>
                  <a:pt x="1364775" y="15260"/>
                  <a:pt x="1373538" y="14593"/>
                  <a:pt x="1381825" y="15926"/>
                </a:cubicBezTo>
                <a:cubicBezTo>
                  <a:pt x="1390397" y="16974"/>
                  <a:pt x="1398874" y="17927"/>
                  <a:pt x="1407447" y="19070"/>
                </a:cubicBezTo>
                <a:cubicBezTo>
                  <a:pt x="1416877" y="20308"/>
                  <a:pt x="1427164" y="19832"/>
                  <a:pt x="1435546" y="23546"/>
                </a:cubicBezTo>
                <a:cubicBezTo>
                  <a:pt x="1443832" y="27261"/>
                  <a:pt x="1450119" y="35357"/>
                  <a:pt x="1457263" y="41453"/>
                </a:cubicBezTo>
                <a:cubicBezTo>
                  <a:pt x="1461454" y="43549"/>
                  <a:pt x="1465645" y="45835"/>
                  <a:pt x="1469931" y="47835"/>
                </a:cubicBezTo>
                <a:cubicBezTo>
                  <a:pt x="1473836" y="49645"/>
                  <a:pt x="1477265" y="48788"/>
                  <a:pt x="1480027" y="45454"/>
                </a:cubicBezTo>
                <a:cubicBezTo>
                  <a:pt x="1482504" y="42215"/>
                  <a:pt x="1485647" y="40691"/>
                  <a:pt x="1489838" y="40787"/>
                </a:cubicBezTo>
                <a:cubicBezTo>
                  <a:pt x="1493553" y="40882"/>
                  <a:pt x="1498982" y="41644"/>
                  <a:pt x="1500887" y="39644"/>
                </a:cubicBezTo>
                <a:cubicBezTo>
                  <a:pt x="1510507" y="29071"/>
                  <a:pt x="1521937" y="32881"/>
                  <a:pt x="1533177" y="34119"/>
                </a:cubicBezTo>
                <a:cubicBezTo>
                  <a:pt x="1535939" y="34405"/>
                  <a:pt x="1538701" y="35548"/>
                  <a:pt x="1541368" y="36310"/>
                </a:cubicBezTo>
                <a:cubicBezTo>
                  <a:pt x="1543845" y="36977"/>
                  <a:pt x="1545274" y="41644"/>
                  <a:pt x="1543273" y="43454"/>
                </a:cubicBezTo>
                <a:cubicBezTo>
                  <a:pt x="1539844" y="46597"/>
                  <a:pt x="1536130" y="49550"/>
                  <a:pt x="1532510" y="52502"/>
                </a:cubicBezTo>
                <a:cubicBezTo>
                  <a:pt x="1534034" y="56503"/>
                  <a:pt x="1535558" y="60503"/>
                  <a:pt x="1537177" y="64599"/>
                </a:cubicBezTo>
                <a:cubicBezTo>
                  <a:pt x="1537177" y="64599"/>
                  <a:pt x="1537558" y="64790"/>
                  <a:pt x="1537558" y="64790"/>
                </a:cubicBezTo>
                <a:cubicBezTo>
                  <a:pt x="1546798" y="60027"/>
                  <a:pt x="1557466" y="63837"/>
                  <a:pt x="1566419" y="61170"/>
                </a:cubicBezTo>
                <a:cubicBezTo>
                  <a:pt x="1579183" y="57360"/>
                  <a:pt x="1599185" y="35167"/>
                  <a:pt x="1609948" y="40596"/>
                </a:cubicBezTo>
                <a:cubicBezTo>
                  <a:pt x="1612520" y="41930"/>
                  <a:pt x="1615663" y="42120"/>
                  <a:pt x="1618521" y="42882"/>
                </a:cubicBezTo>
                <a:cubicBezTo>
                  <a:pt x="1626522" y="43263"/>
                  <a:pt x="1634047" y="42501"/>
                  <a:pt x="1640809" y="37548"/>
                </a:cubicBezTo>
                <a:cubicBezTo>
                  <a:pt x="1646810" y="33167"/>
                  <a:pt x="1653859" y="33357"/>
                  <a:pt x="1660431" y="36024"/>
                </a:cubicBezTo>
                <a:cubicBezTo>
                  <a:pt x="1662812" y="36977"/>
                  <a:pt x="1664241" y="40025"/>
                  <a:pt x="1666146" y="42120"/>
                </a:cubicBezTo>
                <a:cubicBezTo>
                  <a:pt x="1670908" y="45263"/>
                  <a:pt x="1675576" y="48502"/>
                  <a:pt x="1680433" y="51455"/>
                </a:cubicBezTo>
                <a:cubicBezTo>
                  <a:pt x="1687958" y="55931"/>
                  <a:pt x="1696150" y="58789"/>
                  <a:pt x="1704913" y="55741"/>
                </a:cubicBezTo>
                <a:cubicBezTo>
                  <a:pt x="1712342" y="53169"/>
                  <a:pt x="1717676" y="57455"/>
                  <a:pt x="1723677" y="59932"/>
                </a:cubicBezTo>
                <a:cubicBezTo>
                  <a:pt x="1727487" y="56503"/>
                  <a:pt x="1732059" y="56217"/>
                  <a:pt x="1736917" y="56979"/>
                </a:cubicBezTo>
                <a:cubicBezTo>
                  <a:pt x="1742536" y="57741"/>
                  <a:pt x="1748156" y="58313"/>
                  <a:pt x="1753776" y="58979"/>
                </a:cubicBezTo>
                <a:cubicBezTo>
                  <a:pt x="1761872" y="49740"/>
                  <a:pt x="1761682" y="50026"/>
                  <a:pt x="1769683" y="52788"/>
                </a:cubicBezTo>
                <a:cubicBezTo>
                  <a:pt x="1778065" y="55741"/>
                  <a:pt x="1787780" y="58027"/>
                  <a:pt x="1790161" y="68028"/>
                </a:cubicBezTo>
                <a:lnTo>
                  <a:pt x="1799972" y="83840"/>
                </a:lnTo>
                <a:cubicBezTo>
                  <a:pt x="1814641" y="90126"/>
                  <a:pt x="1821213" y="87745"/>
                  <a:pt x="1822546" y="84602"/>
                </a:cubicBezTo>
                <a:cubicBezTo>
                  <a:pt x="1825213" y="81458"/>
                  <a:pt x="1828357" y="79553"/>
                  <a:pt x="1832643" y="80030"/>
                </a:cubicBezTo>
                <a:cubicBezTo>
                  <a:pt x="1841406" y="81077"/>
                  <a:pt x="1850074" y="82125"/>
                  <a:pt x="1858837" y="83173"/>
                </a:cubicBezTo>
                <a:cubicBezTo>
                  <a:pt x="1860742" y="83459"/>
                  <a:pt x="1862551" y="83649"/>
                  <a:pt x="1864456" y="83744"/>
                </a:cubicBezTo>
                <a:cubicBezTo>
                  <a:pt x="1865123" y="83078"/>
                  <a:pt x="1865599" y="82125"/>
                  <a:pt x="1866361" y="81649"/>
                </a:cubicBezTo>
                <a:cubicBezTo>
                  <a:pt x="1875696" y="76696"/>
                  <a:pt x="1911796" y="90983"/>
                  <a:pt x="1920273" y="95841"/>
                </a:cubicBezTo>
                <a:lnTo>
                  <a:pt x="1930655" y="101937"/>
                </a:lnTo>
                <a:cubicBezTo>
                  <a:pt x="1935799" y="104890"/>
                  <a:pt x="1968184" y="138132"/>
                  <a:pt x="1972279" y="132798"/>
                </a:cubicBezTo>
                <a:cubicBezTo>
                  <a:pt x="1973232" y="127940"/>
                  <a:pt x="1974470" y="122987"/>
                  <a:pt x="1980280" y="122416"/>
                </a:cubicBezTo>
                <a:cubicBezTo>
                  <a:pt x="1985900" y="121749"/>
                  <a:pt x="2013142" y="131369"/>
                  <a:pt x="2017142" y="135751"/>
                </a:cubicBezTo>
                <a:cubicBezTo>
                  <a:pt x="2018761" y="137465"/>
                  <a:pt x="2018190" y="141275"/>
                  <a:pt x="2018571" y="144038"/>
                </a:cubicBezTo>
                <a:cubicBezTo>
                  <a:pt x="2020476" y="144323"/>
                  <a:pt x="2022476" y="144609"/>
                  <a:pt x="2024381" y="144800"/>
                </a:cubicBezTo>
                <a:cubicBezTo>
                  <a:pt x="2031525" y="143180"/>
                  <a:pt x="2036002" y="137942"/>
                  <a:pt x="2040955" y="133846"/>
                </a:cubicBezTo>
                <a:cubicBezTo>
                  <a:pt x="2039431" y="130322"/>
                  <a:pt x="2038288" y="127845"/>
                  <a:pt x="2036859" y="124702"/>
                </a:cubicBezTo>
                <a:cubicBezTo>
                  <a:pt x="2051813" y="119558"/>
                  <a:pt x="2066672" y="117749"/>
                  <a:pt x="2081912" y="122702"/>
                </a:cubicBezTo>
                <a:cubicBezTo>
                  <a:pt x="2083341" y="126035"/>
                  <a:pt x="2082007" y="128988"/>
                  <a:pt x="2079150" y="129750"/>
                </a:cubicBezTo>
                <a:cubicBezTo>
                  <a:pt x="2075626" y="130607"/>
                  <a:pt x="2071244" y="128893"/>
                  <a:pt x="2068101" y="130226"/>
                </a:cubicBezTo>
                <a:cubicBezTo>
                  <a:pt x="2062862" y="132322"/>
                  <a:pt x="2058290" y="136037"/>
                  <a:pt x="2053528" y="138989"/>
                </a:cubicBezTo>
                <a:cubicBezTo>
                  <a:pt x="2054575" y="143180"/>
                  <a:pt x="2057814" y="142323"/>
                  <a:pt x="2060195" y="143276"/>
                </a:cubicBezTo>
                <a:cubicBezTo>
                  <a:pt x="2068768" y="146609"/>
                  <a:pt x="2077435" y="141180"/>
                  <a:pt x="2086389" y="144228"/>
                </a:cubicBezTo>
                <a:cubicBezTo>
                  <a:pt x="2094676" y="147086"/>
                  <a:pt x="2103629" y="147943"/>
                  <a:pt x="2112297" y="149467"/>
                </a:cubicBezTo>
                <a:cubicBezTo>
                  <a:pt x="2120203" y="150896"/>
                  <a:pt x="2127346" y="153372"/>
                  <a:pt x="2131347" y="161183"/>
                </a:cubicBezTo>
                <a:cubicBezTo>
                  <a:pt x="2126680" y="164421"/>
                  <a:pt x="2121822" y="162611"/>
                  <a:pt x="2117345" y="161945"/>
                </a:cubicBezTo>
                <a:cubicBezTo>
                  <a:pt x="2102772" y="159659"/>
                  <a:pt x="2087818" y="160230"/>
                  <a:pt x="2073625" y="155087"/>
                </a:cubicBezTo>
                <a:cubicBezTo>
                  <a:pt x="2068006" y="153086"/>
                  <a:pt x="2067910" y="153372"/>
                  <a:pt x="2064291" y="161468"/>
                </a:cubicBezTo>
                <a:cubicBezTo>
                  <a:pt x="2066767" y="162230"/>
                  <a:pt x="2069815" y="162230"/>
                  <a:pt x="2070673" y="165755"/>
                </a:cubicBezTo>
                <a:cubicBezTo>
                  <a:pt x="2070577" y="167755"/>
                  <a:pt x="2069244" y="168231"/>
                  <a:pt x="2066672" y="167850"/>
                </a:cubicBezTo>
                <a:cubicBezTo>
                  <a:pt x="2056290" y="166421"/>
                  <a:pt x="2050480" y="178423"/>
                  <a:pt x="2041526" y="174041"/>
                </a:cubicBezTo>
                <a:cubicBezTo>
                  <a:pt x="2032477" y="169660"/>
                  <a:pt x="2028191" y="173660"/>
                  <a:pt x="2019904" y="172517"/>
                </a:cubicBezTo>
                <a:cubicBezTo>
                  <a:pt x="2018761" y="173851"/>
                  <a:pt x="2013904" y="173851"/>
                  <a:pt x="2007903" y="173565"/>
                </a:cubicBezTo>
                <a:cubicBezTo>
                  <a:pt x="2009617" y="175946"/>
                  <a:pt x="2010760" y="179185"/>
                  <a:pt x="2010189" y="180995"/>
                </a:cubicBezTo>
                <a:cubicBezTo>
                  <a:pt x="2009236" y="183471"/>
                  <a:pt x="2007903" y="186805"/>
                  <a:pt x="2006188" y="187186"/>
                </a:cubicBezTo>
                <a:cubicBezTo>
                  <a:pt x="2003140" y="187853"/>
                  <a:pt x="1999807" y="188519"/>
                  <a:pt x="1996568" y="188329"/>
                </a:cubicBezTo>
                <a:cubicBezTo>
                  <a:pt x="2000378" y="189662"/>
                  <a:pt x="2003998" y="190329"/>
                  <a:pt x="2012284" y="191472"/>
                </a:cubicBezTo>
                <a:cubicBezTo>
                  <a:pt x="2014380" y="191567"/>
                  <a:pt x="2016475" y="191758"/>
                  <a:pt x="2018571" y="191853"/>
                </a:cubicBezTo>
                <a:cubicBezTo>
                  <a:pt x="2020571" y="192044"/>
                  <a:pt x="2022571" y="192329"/>
                  <a:pt x="2024572" y="192520"/>
                </a:cubicBezTo>
                <a:cubicBezTo>
                  <a:pt x="2032287" y="193472"/>
                  <a:pt x="2040002" y="194330"/>
                  <a:pt x="2047717" y="195187"/>
                </a:cubicBezTo>
                <a:cubicBezTo>
                  <a:pt x="2052766" y="195758"/>
                  <a:pt x="2061814" y="197473"/>
                  <a:pt x="2064196" y="202426"/>
                </a:cubicBezTo>
                <a:lnTo>
                  <a:pt x="2066482" y="203759"/>
                </a:lnTo>
                <a:cubicBezTo>
                  <a:pt x="2077912" y="205188"/>
                  <a:pt x="2088008" y="205188"/>
                  <a:pt x="2098486" y="211951"/>
                </a:cubicBezTo>
                <a:cubicBezTo>
                  <a:pt x="2103820" y="215380"/>
                  <a:pt x="2111440" y="215380"/>
                  <a:pt x="2117821" y="217380"/>
                </a:cubicBezTo>
                <a:cubicBezTo>
                  <a:pt x="2119060" y="217761"/>
                  <a:pt x="2119631" y="220428"/>
                  <a:pt x="2120203" y="222143"/>
                </a:cubicBezTo>
                <a:cubicBezTo>
                  <a:pt x="2120203" y="222428"/>
                  <a:pt x="2118679" y="223762"/>
                  <a:pt x="2118107" y="223667"/>
                </a:cubicBezTo>
                <a:cubicBezTo>
                  <a:pt x="2103915" y="221476"/>
                  <a:pt x="2090294" y="219095"/>
                  <a:pt x="2076102" y="216713"/>
                </a:cubicBezTo>
                <a:lnTo>
                  <a:pt x="2075435" y="216713"/>
                </a:lnTo>
                <a:cubicBezTo>
                  <a:pt x="2083055" y="225667"/>
                  <a:pt x="2093628" y="229286"/>
                  <a:pt x="2104486" y="231858"/>
                </a:cubicBezTo>
                <a:cubicBezTo>
                  <a:pt x="2111821" y="233573"/>
                  <a:pt x="2122965" y="237383"/>
                  <a:pt x="2129537" y="243479"/>
                </a:cubicBezTo>
                <a:cubicBezTo>
                  <a:pt x="2129537" y="243479"/>
                  <a:pt x="2136490" y="245288"/>
                  <a:pt x="2134776" y="246717"/>
                </a:cubicBezTo>
                <a:cubicBezTo>
                  <a:pt x="2133061" y="248146"/>
                  <a:pt x="2123060" y="248717"/>
                  <a:pt x="2123060" y="248717"/>
                </a:cubicBezTo>
                <a:cubicBezTo>
                  <a:pt x="2108773" y="249384"/>
                  <a:pt x="2101153" y="245193"/>
                  <a:pt x="2088865" y="240240"/>
                </a:cubicBezTo>
                <a:cubicBezTo>
                  <a:pt x="2075816" y="234906"/>
                  <a:pt x="2065910" y="233668"/>
                  <a:pt x="2052385" y="231953"/>
                </a:cubicBezTo>
                <a:cubicBezTo>
                  <a:pt x="2045622" y="231096"/>
                  <a:pt x="2038764" y="230144"/>
                  <a:pt x="2032001" y="229286"/>
                </a:cubicBezTo>
                <a:cubicBezTo>
                  <a:pt x="2025048" y="229382"/>
                  <a:pt x="2020571" y="224333"/>
                  <a:pt x="2015047" y="221381"/>
                </a:cubicBezTo>
                <a:lnTo>
                  <a:pt x="2007903" y="223571"/>
                </a:lnTo>
                <a:cubicBezTo>
                  <a:pt x="2001521" y="219190"/>
                  <a:pt x="1986091" y="222238"/>
                  <a:pt x="1977994" y="221095"/>
                </a:cubicBezTo>
                <a:lnTo>
                  <a:pt x="1977994" y="221095"/>
                </a:lnTo>
                <a:cubicBezTo>
                  <a:pt x="1975518" y="222238"/>
                  <a:pt x="1972756" y="223095"/>
                  <a:pt x="1970565" y="224714"/>
                </a:cubicBezTo>
                <a:lnTo>
                  <a:pt x="1979328" y="234335"/>
                </a:lnTo>
                <a:cubicBezTo>
                  <a:pt x="1981614" y="242050"/>
                  <a:pt x="1995520" y="241478"/>
                  <a:pt x="2006665" y="248432"/>
                </a:cubicBezTo>
                <a:lnTo>
                  <a:pt x="2017142" y="249575"/>
                </a:lnTo>
                <a:lnTo>
                  <a:pt x="2021238" y="257290"/>
                </a:lnTo>
                <a:cubicBezTo>
                  <a:pt x="2024857" y="257766"/>
                  <a:pt x="2032668" y="259576"/>
                  <a:pt x="2036287" y="260052"/>
                </a:cubicBezTo>
                <a:cubicBezTo>
                  <a:pt x="2044384" y="252146"/>
                  <a:pt x="2048670" y="278531"/>
                  <a:pt x="2055623" y="284341"/>
                </a:cubicBezTo>
                <a:cubicBezTo>
                  <a:pt x="2061433" y="289199"/>
                  <a:pt x="2068101" y="292818"/>
                  <a:pt x="2075721" y="291008"/>
                </a:cubicBezTo>
                <a:cubicBezTo>
                  <a:pt x="2083912" y="289103"/>
                  <a:pt x="2085151" y="317583"/>
                  <a:pt x="2092580" y="318440"/>
                </a:cubicBezTo>
                <a:cubicBezTo>
                  <a:pt x="2099438" y="319202"/>
                  <a:pt x="2105629" y="319012"/>
                  <a:pt x="2110773" y="324727"/>
                </a:cubicBezTo>
                <a:cubicBezTo>
                  <a:pt x="2113154" y="327299"/>
                  <a:pt x="2117536" y="328632"/>
                  <a:pt x="2121250" y="329299"/>
                </a:cubicBezTo>
                <a:cubicBezTo>
                  <a:pt x="2130871" y="331109"/>
                  <a:pt x="2140872" y="331490"/>
                  <a:pt x="2150302" y="333871"/>
                </a:cubicBezTo>
                <a:cubicBezTo>
                  <a:pt x="2158684" y="335966"/>
                  <a:pt x="2167161" y="342253"/>
                  <a:pt x="2171447" y="351397"/>
                </a:cubicBezTo>
                <a:lnTo>
                  <a:pt x="2168113" y="353207"/>
                </a:lnTo>
                <a:cubicBezTo>
                  <a:pt x="2157160" y="358350"/>
                  <a:pt x="2146111" y="356636"/>
                  <a:pt x="2133823" y="354445"/>
                </a:cubicBezTo>
                <a:cubicBezTo>
                  <a:pt x="2130490" y="353873"/>
                  <a:pt x="2127727" y="350444"/>
                  <a:pt x="2124775" y="348254"/>
                </a:cubicBezTo>
                <a:cubicBezTo>
                  <a:pt x="2122012" y="349206"/>
                  <a:pt x="2119345" y="350349"/>
                  <a:pt x="2116583" y="351016"/>
                </a:cubicBezTo>
                <a:cubicBezTo>
                  <a:pt x="2112202" y="352159"/>
                  <a:pt x="2109249" y="350254"/>
                  <a:pt x="2107534" y="346158"/>
                </a:cubicBezTo>
                <a:cubicBezTo>
                  <a:pt x="2103248" y="343967"/>
                  <a:pt x="2101915" y="344825"/>
                  <a:pt x="2097533" y="344539"/>
                </a:cubicBezTo>
                <a:cubicBezTo>
                  <a:pt x="2092294" y="344158"/>
                  <a:pt x="2090199" y="344158"/>
                  <a:pt x="2086579" y="339681"/>
                </a:cubicBezTo>
                <a:cubicBezTo>
                  <a:pt x="2078102" y="329204"/>
                  <a:pt x="2074102" y="325584"/>
                  <a:pt x="2060671" y="327870"/>
                </a:cubicBezTo>
                <a:cubicBezTo>
                  <a:pt x="2061433" y="330728"/>
                  <a:pt x="2062100" y="333395"/>
                  <a:pt x="2062862" y="336157"/>
                </a:cubicBezTo>
                <a:cubicBezTo>
                  <a:pt x="2056290" y="339872"/>
                  <a:pt x="2049908" y="335776"/>
                  <a:pt x="2043431" y="335966"/>
                </a:cubicBezTo>
                <a:cubicBezTo>
                  <a:pt x="2038954" y="335681"/>
                  <a:pt x="2034478" y="335490"/>
                  <a:pt x="2030001" y="335204"/>
                </a:cubicBezTo>
                <a:cubicBezTo>
                  <a:pt x="2025619" y="348730"/>
                  <a:pt x="2039240" y="340157"/>
                  <a:pt x="2045241" y="348920"/>
                </a:cubicBezTo>
                <a:cubicBezTo>
                  <a:pt x="2050861" y="351683"/>
                  <a:pt x="2052289" y="355969"/>
                  <a:pt x="2057814" y="358636"/>
                </a:cubicBezTo>
                <a:cubicBezTo>
                  <a:pt x="2062481" y="359493"/>
                  <a:pt x="2067625" y="360541"/>
                  <a:pt x="2071149" y="363017"/>
                </a:cubicBezTo>
                <a:cubicBezTo>
                  <a:pt x="2079531" y="368828"/>
                  <a:pt x="2077150" y="362541"/>
                  <a:pt x="2086484" y="363779"/>
                </a:cubicBezTo>
                <a:lnTo>
                  <a:pt x="2091818" y="365875"/>
                </a:lnTo>
                <a:cubicBezTo>
                  <a:pt x="2095723" y="366351"/>
                  <a:pt x="2106106" y="369685"/>
                  <a:pt x="2110011" y="370161"/>
                </a:cubicBezTo>
                <a:cubicBezTo>
                  <a:pt x="2122774" y="369399"/>
                  <a:pt x="2118964" y="373400"/>
                  <a:pt x="2130680" y="376257"/>
                </a:cubicBezTo>
                <a:cubicBezTo>
                  <a:pt x="2142301" y="377781"/>
                  <a:pt x="2141920" y="381305"/>
                  <a:pt x="2152873" y="387211"/>
                </a:cubicBezTo>
                <a:lnTo>
                  <a:pt x="2174305" y="400451"/>
                </a:lnTo>
                <a:cubicBezTo>
                  <a:pt x="2174305" y="400451"/>
                  <a:pt x="2169352" y="401689"/>
                  <a:pt x="2162494" y="403213"/>
                </a:cubicBezTo>
                <a:cubicBezTo>
                  <a:pt x="2157350" y="404356"/>
                  <a:pt x="2150873" y="397307"/>
                  <a:pt x="2144872" y="398450"/>
                </a:cubicBezTo>
                <a:cubicBezTo>
                  <a:pt x="2137348" y="399879"/>
                  <a:pt x="2130299" y="400832"/>
                  <a:pt x="2126584" y="400641"/>
                </a:cubicBezTo>
                <a:cubicBezTo>
                  <a:pt x="2127918" y="404546"/>
                  <a:pt x="2130775" y="406737"/>
                  <a:pt x="2134681" y="407594"/>
                </a:cubicBezTo>
                <a:cubicBezTo>
                  <a:pt x="2138586" y="408452"/>
                  <a:pt x="2143920" y="409118"/>
                  <a:pt x="2145253" y="413024"/>
                </a:cubicBezTo>
                <a:cubicBezTo>
                  <a:pt x="2149159" y="413500"/>
                  <a:pt x="2150111" y="417405"/>
                  <a:pt x="2154112" y="417881"/>
                </a:cubicBezTo>
                <a:lnTo>
                  <a:pt x="2163065" y="418453"/>
                </a:lnTo>
                <a:cubicBezTo>
                  <a:pt x="2171352" y="419310"/>
                  <a:pt x="2175162" y="424454"/>
                  <a:pt x="2181448" y="428930"/>
                </a:cubicBezTo>
                <a:cubicBezTo>
                  <a:pt x="2187830" y="433502"/>
                  <a:pt x="2196307" y="439027"/>
                  <a:pt x="2208309" y="442170"/>
                </a:cubicBezTo>
                <a:cubicBezTo>
                  <a:pt x="2194593" y="443123"/>
                  <a:pt x="2189830" y="442932"/>
                  <a:pt x="2182020" y="441789"/>
                </a:cubicBezTo>
                <a:lnTo>
                  <a:pt x="2168304" y="438836"/>
                </a:lnTo>
                <a:lnTo>
                  <a:pt x="2156017" y="433407"/>
                </a:lnTo>
                <a:cubicBezTo>
                  <a:pt x="2146492" y="429216"/>
                  <a:pt x="2136776" y="427216"/>
                  <a:pt x="2126108" y="425501"/>
                </a:cubicBezTo>
                <a:cubicBezTo>
                  <a:pt x="2119441" y="424644"/>
                  <a:pt x="2108487" y="429311"/>
                  <a:pt x="2108487" y="429311"/>
                </a:cubicBezTo>
                <a:close/>
                <a:moveTo>
                  <a:pt x="2052670" y="493034"/>
                </a:moveTo>
                <a:cubicBezTo>
                  <a:pt x="2065339" y="494177"/>
                  <a:pt x="2081722" y="492748"/>
                  <a:pt x="2084865" y="496558"/>
                </a:cubicBezTo>
                <a:cubicBezTo>
                  <a:pt x="2070482" y="499796"/>
                  <a:pt x="2055433" y="508274"/>
                  <a:pt x="2042669" y="505607"/>
                </a:cubicBezTo>
                <a:cubicBezTo>
                  <a:pt x="2030191" y="503035"/>
                  <a:pt x="2030953" y="506083"/>
                  <a:pt x="2019047" y="501701"/>
                </a:cubicBezTo>
                <a:cubicBezTo>
                  <a:pt x="2012094" y="499130"/>
                  <a:pt x="2011237" y="500939"/>
                  <a:pt x="2004379" y="503702"/>
                </a:cubicBezTo>
                <a:lnTo>
                  <a:pt x="1979518" y="505416"/>
                </a:lnTo>
                <a:cubicBezTo>
                  <a:pt x="1974756" y="507416"/>
                  <a:pt x="1969898" y="508083"/>
                  <a:pt x="1965517" y="505702"/>
                </a:cubicBezTo>
                <a:cubicBezTo>
                  <a:pt x="1958278" y="501797"/>
                  <a:pt x="1950372" y="502749"/>
                  <a:pt x="1942752" y="502082"/>
                </a:cubicBezTo>
                <a:cubicBezTo>
                  <a:pt x="1939609" y="501797"/>
                  <a:pt x="1937513" y="500368"/>
                  <a:pt x="1936656" y="497320"/>
                </a:cubicBezTo>
                <a:cubicBezTo>
                  <a:pt x="1935989" y="495034"/>
                  <a:pt x="1938656" y="491605"/>
                  <a:pt x="1941514" y="491414"/>
                </a:cubicBezTo>
                <a:cubicBezTo>
                  <a:pt x="1956944" y="490176"/>
                  <a:pt x="1958468" y="484175"/>
                  <a:pt x="1973327" y="491033"/>
                </a:cubicBezTo>
                <a:lnTo>
                  <a:pt x="1982090" y="493510"/>
                </a:lnTo>
                <a:cubicBezTo>
                  <a:pt x="1986091" y="493319"/>
                  <a:pt x="1990091" y="492272"/>
                  <a:pt x="1994092" y="491986"/>
                </a:cubicBezTo>
                <a:cubicBezTo>
                  <a:pt x="2010665" y="492272"/>
                  <a:pt x="2016761" y="488271"/>
                  <a:pt x="2025619" y="488271"/>
                </a:cubicBezTo>
                <a:cubicBezTo>
                  <a:pt x="2029810" y="488271"/>
                  <a:pt x="2039431" y="491986"/>
                  <a:pt x="2052766" y="493129"/>
                </a:cubicBezTo>
                <a:close/>
                <a:moveTo>
                  <a:pt x="1926178" y="473222"/>
                </a:moveTo>
                <a:cubicBezTo>
                  <a:pt x="1928845" y="468173"/>
                  <a:pt x="1933132" y="467792"/>
                  <a:pt x="1936751" y="466649"/>
                </a:cubicBezTo>
                <a:cubicBezTo>
                  <a:pt x="1943228" y="464649"/>
                  <a:pt x="1944371" y="465697"/>
                  <a:pt x="1948086" y="475508"/>
                </a:cubicBezTo>
                <a:cubicBezTo>
                  <a:pt x="1940466" y="477508"/>
                  <a:pt x="1933322" y="476555"/>
                  <a:pt x="1926274" y="473126"/>
                </a:cubicBezTo>
                <a:close/>
                <a:moveTo>
                  <a:pt x="1973422" y="484461"/>
                </a:moveTo>
                <a:cubicBezTo>
                  <a:pt x="1961611" y="485223"/>
                  <a:pt x="1956277" y="478365"/>
                  <a:pt x="1956754" y="476651"/>
                </a:cubicBezTo>
                <a:cubicBezTo>
                  <a:pt x="1957420" y="474079"/>
                  <a:pt x="1970184" y="471793"/>
                  <a:pt x="1977804" y="474460"/>
                </a:cubicBezTo>
                <a:cubicBezTo>
                  <a:pt x="1991615" y="479318"/>
                  <a:pt x="2006665" y="477413"/>
                  <a:pt x="2021905" y="479413"/>
                </a:cubicBezTo>
                <a:cubicBezTo>
                  <a:pt x="2006188" y="484271"/>
                  <a:pt x="1989520" y="483128"/>
                  <a:pt x="1973422" y="484461"/>
                </a:cubicBezTo>
                <a:close/>
                <a:moveTo>
                  <a:pt x="2091818" y="473984"/>
                </a:moveTo>
                <a:cubicBezTo>
                  <a:pt x="2086960" y="477032"/>
                  <a:pt x="2083055" y="475031"/>
                  <a:pt x="2079436" y="474174"/>
                </a:cubicBezTo>
                <a:cubicBezTo>
                  <a:pt x="2072863" y="472650"/>
                  <a:pt x="2072482" y="471126"/>
                  <a:pt x="2074292" y="460744"/>
                </a:cubicBezTo>
                <a:cubicBezTo>
                  <a:pt x="2081817" y="462935"/>
                  <a:pt x="2087437" y="467316"/>
                  <a:pt x="2091818" y="473984"/>
                </a:cubicBezTo>
                <a:close/>
              </a:path>
            </a:pathLst>
          </a:custGeom>
          <a:solidFill>
            <a:schemeClr val="accent1">
              <a:lumMod val="40000"/>
              <a:lumOff val="60000"/>
              <a:alpha val="40000"/>
            </a:schemeClr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pPr defTabSz="128590">
              <a:defRPr/>
            </a:pPr>
            <a:endParaRPr lang="nb-NO" sz="1050" noProof="0">
              <a:solidFill>
                <a:prstClr val="black"/>
              </a:solidFill>
              <a:latin typeface="Innovation Norway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548764B-BE0E-3F54-0BD8-F3DFB7CACA2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87426" y="536700"/>
            <a:ext cx="5440594" cy="856990"/>
          </a:xfrm>
        </p:spPr>
        <p:txBody>
          <a:bodyPr/>
          <a:lstStyle/>
          <a:p>
            <a:r>
              <a:rPr lang="nb-NO" sz="3600" b="1"/>
              <a:t>Danmarks</a:t>
            </a:r>
            <a:r>
              <a:rPr lang="nb-NO" sz="3600" b="1" noProof="0"/>
              <a:t> markedsprofil</a:t>
            </a:r>
          </a:p>
        </p:txBody>
      </p:sp>
      <p:sp>
        <p:nvSpPr>
          <p:cNvPr id="26" name="Graphic 11">
            <a:extLst>
              <a:ext uri="{FF2B5EF4-FFF2-40B4-BE49-F238E27FC236}">
                <a16:creationId xmlns:a16="http://schemas.microsoft.com/office/drawing/2014/main" id="{97803688-EC89-9BCF-B390-5AEFCBB7A02A}"/>
              </a:ext>
            </a:extLst>
          </p:cNvPr>
          <p:cNvSpPr/>
          <p:nvPr/>
        </p:nvSpPr>
        <p:spPr>
          <a:xfrm>
            <a:off x="287426" y="1162058"/>
            <a:ext cx="3377568" cy="340870"/>
          </a:xfrm>
          <a:custGeom>
            <a:avLst/>
            <a:gdLst>
              <a:gd name="connsiteX0" fmla="*/ 2050099 w 2208308"/>
              <a:gd name="connsiteY0" fmla="*/ 263195 h 507788"/>
              <a:gd name="connsiteX1" fmla="*/ 2056195 w 2208308"/>
              <a:gd name="connsiteY1" fmla="*/ 254813 h 507788"/>
              <a:gd name="connsiteX2" fmla="*/ 2067910 w 2208308"/>
              <a:gd name="connsiteY2" fmla="*/ 255004 h 507788"/>
              <a:gd name="connsiteX3" fmla="*/ 2075530 w 2208308"/>
              <a:gd name="connsiteY3" fmla="*/ 247479 h 507788"/>
              <a:gd name="connsiteX4" fmla="*/ 2080293 w 2208308"/>
              <a:gd name="connsiteY4" fmla="*/ 248336 h 507788"/>
              <a:gd name="connsiteX5" fmla="*/ 2099057 w 2208308"/>
              <a:gd name="connsiteY5" fmla="*/ 262719 h 507788"/>
              <a:gd name="connsiteX6" fmla="*/ 2099057 w 2208308"/>
              <a:gd name="connsiteY6" fmla="*/ 264910 h 507788"/>
              <a:gd name="connsiteX7" fmla="*/ 2107820 w 2208308"/>
              <a:gd name="connsiteY7" fmla="*/ 271577 h 507788"/>
              <a:gd name="connsiteX8" fmla="*/ 2124870 w 2208308"/>
              <a:gd name="connsiteY8" fmla="*/ 274625 h 507788"/>
              <a:gd name="connsiteX9" fmla="*/ 2127823 w 2208308"/>
              <a:gd name="connsiteY9" fmla="*/ 281674 h 507788"/>
              <a:gd name="connsiteX10" fmla="*/ 2122870 w 2208308"/>
              <a:gd name="connsiteY10" fmla="*/ 283388 h 507788"/>
              <a:gd name="connsiteX11" fmla="*/ 2089437 w 2208308"/>
              <a:gd name="connsiteY11" fmla="*/ 275483 h 507788"/>
              <a:gd name="connsiteX12" fmla="*/ 2054480 w 2208308"/>
              <a:gd name="connsiteY12" fmla="*/ 270149 h 507788"/>
              <a:gd name="connsiteX13" fmla="*/ 2050099 w 2208308"/>
              <a:gd name="connsiteY13" fmla="*/ 263291 h 507788"/>
              <a:gd name="connsiteX14" fmla="*/ 2164589 w 2208308"/>
              <a:gd name="connsiteY14" fmla="*/ 284722 h 507788"/>
              <a:gd name="connsiteX15" fmla="*/ 2131633 w 2208308"/>
              <a:gd name="connsiteY15" fmla="*/ 282531 h 507788"/>
              <a:gd name="connsiteX16" fmla="*/ 2145444 w 2208308"/>
              <a:gd name="connsiteY16" fmla="*/ 286055 h 507788"/>
              <a:gd name="connsiteX17" fmla="*/ 2164589 w 2208308"/>
              <a:gd name="connsiteY17" fmla="*/ 284722 h 507788"/>
              <a:gd name="connsiteX18" fmla="*/ 2059338 w 2208308"/>
              <a:gd name="connsiteY18" fmla="*/ 175565 h 507788"/>
              <a:gd name="connsiteX19" fmla="*/ 2046193 w 2208308"/>
              <a:gd name="connsiteY19" fmla="*/ 187186 h 507788"/>
              <a:gd name="connsiteX20" fmla="*/ 2096009 w 2208308"/>
              <a:gd name="connsiteY20" fmla="*/ 191948 h 507788"/>
              <a:gd name="connsiteX21" fmla="*/ 2080102 w 2208308"/>
              <a:gd name="connsiteY21" fmla="*/ 186519 h 507788"/>
              <a:gd name="connsiteX22" fmla="*/ 2067434 w 2208308"/>
              <a:gd name="connsiteY22" fmla="*/ 175375 h 507788"/>
              <a:gd name="connsiteX23" fmla="*/ 2059338 w 2208308"/>
              <a:gd name="connsiteY23" fmla="*/ 175565 h 507788"/>
              <a:gd name="connsiteX24" fmla="*/ 2109154 w 2208308"/>
              <a:gd name="connsiteY24" fmla="*/ 429502 h 507788"/>
              <a:gd name="connsiteX25" fmla="*/ 2138300 w 2208308"/>
              <a:gd name="connsiteY25" fmla="*/ 435979 h 507788"/>
              <a:gd name="connsiteX26" fmla="*/ 2164589 w 2208308"/>
              <a:gd name="connsiteY26" fmla="*/ 453505 h 507788"/>
              <a:gd name="connsiteX27" fmla="*/ 2187163 w 2208308"/>
              <a:gd name="connsiteY27" fmla="*/ 463506 h 507788"/>
              <a:gd name="connsiteX28" fmla="*/ 2149349 w 2208308"/>
              <a:gd name="connsiteY28" fmla="*/ 460934 h 507788"/>
              <a:gd name="connsiteX29" fmla="*/ 2146492 w 2208308"/>
              <a:gd name="connsiteY29" fmla="*/ 460744 h 507788"/>
              <a:gd name="connsiteX30" fmla="*/ 2106201 w 2208308"/>
              <a:gd name="connsiteY30" fmla="*/ 453124 h 507788"/>
              <a:gd name="connsiteX31" fmla="*/ 2072292 w 2208308"/>
              <a:gd name="connsiteY31" fmla="*/ 441313 h 507788"/>
              <a:gd name="connsiteX32" fmla="*/ 2065339 w 2208308"/>
              <a:gd name="connsiteY32" fmla="*/ 440646 h 507788"/>
              <a:gd name="connsiteX33" fmla="*/ 2056004 w 2208308"/>
              <a:gd name="connsiteY33" fmla="*/ 441122 h 507788"/>
              <a:gd name="connsiteX34" fmla="*/ 2042955 w 2208308"/>
              <a:gd name="connsiteY34" fmla="*/ 437693 h 507788"/>
              <a:gd name="connsiteX35" fmla="*/ 2025905 w 2208308"/>
              <a:gd name="connsiteY35" fmla="*/ 429788 h 507788"/>
              <a:gd name="connsiteX36" fmla="*/ 2022571 w 2208308"/>
              <a:gd name="connsiteY36" fmla="*/ 427787 h 507788"/>
              <a:gd name="connsiteX37" fmla="*/ 2022381 w 2208308"/>
              <a:gd name="connsiteY37" fmla="*/ 437789 h 507788"/>
              <a:gd name="connsiteX38" fmla="*/ 2028286 w 2208308"/>
              <a:gd name="connsiteY38" fmla="*/ 451314 h 507788"/>
              <a:gd name="connsiteX39" fmla="*/ 2050194 w 2208308"/>
              <a:gd name="connsiteY39" fmla="*/ 458458 h 507788"/>
              <a:gd name="connsiteX40" fmla="*/ 2066101 w 2208308"/>
              <a:gd name="connsiteY40" fmla="*/ 463030 h 507788"/>
              <a:gd name="connsiteX41" fmla="*/ 2069530 w 2208308"/>
              <a:gd name="connsiteY41" fmla="*/ 470555 h 507788"/>
              <a:gd name="connsiteX42" fmla="*/ 2062862 w 2208308"/>
              <a:gd name="connsiteY42" fmla="*/ 471888 h 507788"/>
              <a:gd name="connsiteX43" fmla="*/ 2047051 w 2208308"/>
              <a:gd name="connsiteY43" fmla="*/ 470555 h 507788"/>
              <a:gd name="connsiteX44" fmla="*/ 2035621 w 2208308"/>
              <a:gd name="connsiteY44" fmla="*/ 470555 h 507788"/>
              <a:gd name="connsiteX45" fmla="*/ 2008474 w 2208308"/>
              <a:gd name="connsiteY45" fmla="*/ 458553 h 507788"/>
              <a:gd name="connsiteX46" fmla="*/ 1994092 w 2208308"/>
              <a:gd name="connsiteY46" fmla="*/ 460934 h 507788"/>
              <a:gd name="connsiteX47" fmla="*/ 1981042 w 2208308"/>
              <a:gd name="connsiteY47" fmla="*/ 459125 h 507788"/>
              <a:gd name="connsiteX48" fmla="*/ 1945800 w 2208308"/>
              <a:gd name="connsiteY48" fmla="*/ 458172 h 507788"/>
              <a:gd name="connsiteX49" fmla="*/ 1930465 w 2208308"/>
              <a:gd name="connsiteY49" fmla="*/ 456077 h 507788"/>
              <a:gd name="connsiteX50" fmla="*/ 1917892 w 2208308"/>
              <a:gd name="connsiteY50" fmla="*/ 462744 h 507788"/>
              <a:gd name="connsiteX51" fmla="*/ 1909605 w 2208308"/>
              <a:gd name="connsiteY51" fmla="*/ 463316 h 507788"/>
              <a:gd name="connsiteX52" fmla="*/ 1882649 w 2208308"/>
              <a:gd name="connsiteY52" fmla="*/ 465792 h 507788"/>
              <a:gd name="connsiteX53" fmla="*/ 1861599 w 2208308"/>
              <a:gd name="connsiteY53" fmla="*/ 463030 h 507788"/>
              <a:gd name="connsiteX54" fmla="*/ 1870457 w 2208308"/>
              <a:gd name="connsiteY54" fmla="*/ 471317 h 507788"/>
              <a:gd name="connsiteX55" fmla="*/ 1886459 w 2208308"/>
              <a:gd name="connsiteY55" fmla="*/ 481985 h 507788"/>
              <a:gd name="connsiteX56" fmla="*/ 1902461 w 2208308"/>
              <a:gd name="connsiteY56" fmla="*/ 482747 h 507788"/>
              <a:gd name="connsiteX57" fmla="*/ 1933513 w 2208308"/>
              <a:gd name="connsiteY57" fmla="*/ 483318 h 507788"/>
              <a:gd name="connsiteX58" fmla="*/ 1933513 w 2208308"/>
              <a:gd name="connsiteY58" fmla="*/ 492176 h 507788"/>
              <a:gd name="connsiteX59" fmla="*/ 1926083 w 2208308"/>
              <a:gd name="connsiteY59" fmla="*/ 498749 h 507788"/>
              <a:gd name="connsiteX60" fmla="*/ 1911129 w 2208308"/>
              <a:gd name="connsiteY60" fmla="*/ 502844 h 507788"/>
              <a:gd name="connsiteX61" fmla="*/ 1886459 w 2208308"/>
              <a:gd name="connsiteY61" fmla="*/ 505607 h 507788"/>
              <a:gd name="connsiteX62" fmla="*/ 1847978 w 2208308"/>
              <a:gd name="connsiteY62" fmla="*/ 503702 h 507788"/>
              <a:gd name="connsiteX63" fmla="*/ 1825118 w 2208308"/>
              <a:gd name="connsiteY63" fmla="*/ 496463 h 507788"/>
              <a:gd name="connsiteX64" fmla="*/ 1806925 w 2208308"/>
              <a:gd name="connsiteY64" fmla="*/ 489224 h 507788"/>
              <a:gd name="connsiteX65" fmla="*/ 1805306 w 2208308"/>
              <a:gd name="connsiteY65" fmla="*/ 486842 h 507788"/>
              <a:gd name="connsiteX66" fmla="*/ 1773969 w 2208308"/>
              <a:gd name="connsiteY66" fmla="*/ 490462 h 507788"/>
              <a:gd name="connsiteX67" fmla="*/ 1767873 w 2208308"/>
              <a:gd name="connsiteY67" fmla="*/ 489700 h 507788"/>
              <a:gd name="connsiteX68" fmla="*/ 1750061 w 2208308"/>
              <a:gd name="connsiteY68" fmla="*/ 494653 h 507788"/>
              <a:gd name="connsiteX69" fmla="*/ 1722058 w 2208308"/>
              <a:gd name="connsiteY69" fmla="*/ 492081 h 507788"/>
              <a:gd name="connsiteX70" fmla="*/ 1716533 w 2208308"/>
              <a:gd name="connsiteY70" fmla="*/ 490367 h 507788"/>
              <a:gd name="connsiteX71" fmla="*/ 1679386 w 2208308"/>
              <a:gd name="connsiteY71" fmla="*/ 486366 h 507788"/>
              <a:gd name="connsiteX72" fmla="*/ 1662431 w 2208308"/>
              <a:gd name="connsiteY72" fmla="*/ 497129 h 507788"/>
              <a:gd name="connsiteX73" fmla="*/ 1645477 w 2208308"/>
              <a:gd name="connsiteY73" fmla="*/ 497510 h 507788"/>
              <a:gd name="connsiteX74" fmla="*/ 1605948 w 2208308"/>
              <a:gd name="connsiteY74" fmla="*/ 490938 h 507788"/>
              <a:gd name="connsiteX75" fmla="*/ 1512603 w 2208308"/>
              <a:gd name="connsiteY75" fmla="*/ 489319 h 507788"/>
              <a:gd name="connsiteX76" fmla="*/ 1498411 w 2208308"/>
              <a:gd name="connsiteY76" fmla="*/ 490748 h 507788"/>
              <a:gd name="connsiteX77" fmla="*/ 1472979 w 2208308"/>
              <a:gd name="connsiteY77" fmla="*/ 491605 h 507788"/>
              <a:gd name="connsiteX78" fmla="*/ 1435450 w 2208308"/>
              <a:gd name="connsiteY78" fmla="*/ 491986 h 507788"/>
              <a:gd name="connsiteX79" fmla="*/ 1427068 w 2208308"/>
              <a:gd name="connsiteY79" fmla="*/ 493891 h 507788"/>
              <a:gd name="connsiteX80" fmla="*/ 1407733 w 2208308"/>
              <a:gd name="connsiteY80" fmla="*/ 500273 h 507788"/>
              <a:gd name="connsiteX81" fmla="*/ 1391731 w 2208308"/>
              <a:gd name="connsiteY81" fmla="*/ 486652 h 507788"/>
              <a:gd name="connsiteX82" fmla="*/ 1364965 w 2208308"/>
              <a:gd name="connsiteY82" fmla="*/ 494367 h 507788"/>
              <a:gd name="connsiteX83" fmla="*/ 1341058 w 2208308"/>
              <a:gd name="connsiteY83" fmla="*/ 502940 h 507788"/>
              <a:gd name="connsiteX84" fmla="*/ 1335628 w 2208308"/>
              <a:gd name="connsiteY84" fmla="*/ 500558 h 507788"/>
              <a:gd name="connsiteX85" fmla="*/ 1292480 w 2208308"/>
              <a:gd name="connsiteY85" fmla="*/ 494081 h 507788"/>
              <a:gd name="connsiteX86" fmla="*/ 939769 w 2208308"/>
              <a:gd name="connsiteY86" fmla="*/ 503606 h 507788"/>
              <a:gd name="connsiteX87" fmla="*/ 854330 w 2208308"/>
              <a:gd name="connsiteY87" fmla="*/ 499415 h 507788"/>
              <a:gd name="connsiteX88" fmla="*/ 590869 w 2208308"/>
              <a:gd name="connsiteY88" fmla="*/ 498939 h 507788"/>
              <a:gd name="connsiteX89" fmla="*/ 576867 w 2208308"/>
              <a:gd name="connsiteY89" fmla="*/ 501511 h 507788"/>
              <a:gd name="connsiteX90" fmla="*/ 559436 w 2208308"/>
              <a:gd name="connsiteY90" fmla="*/ 499225 h 507788"/>
              <a:gd name="connsiteX91" fmla="*/ 512287 w 2208308"/>
              <a:gd name="connsiteY91" fmla="*/ 499701 h 507788"/>
              <a:gd name="connsiteX92" fmla="*/ 459233 w 2208308"/>
              <a:gd name="connsiteY92" fmla="*/ 505797 h 507788"/>
              <a:gd name="connsiteX93" fmla="*/ 397321 w 2208308"/>
              <a:gd name="connsiteY93" fmla="*/ 499701 h 507788"/>
              <a:gd name="connsiteX94" fmla="*/ 359316 w 2208308"/>
              <a:gd name="connsiteY94" fmla="*/ 498844 h 507788"/>
              <a:gd name="connsiteX95" fmla="*/ 309310 w 2208308"/>
              <a:gd name="connsiteY95" fmla="*/ 494367 h 507788"/>
              <a:gd name="connsiteX96" fmla="*/ 291593 w 2208308"/>
              <a:gd name="connsiteY96" fmla="*/ 492272 h 507788"/>
              <a:gd name="connsiteX97" fmla="*/ 259780 w 2208308"/>
              <a:gd name="connsiteY97" fmla="*/ 493319 h 507788"/>
              <a:gd name="connsiteX98" fmla="*/ 197296 w 2208308"/>
              <a:gd name="connsiteY98" fmla="*/ 497415 h 507788"/>
              <a:gd name="connsiteX99" fmla="*/ 125668 w 2208308"/>
              <a:gd name="connsiteY99" fmla="*/ 498749 h 507788"/>
              <a:gd name="connsiteX100" fmla="*/ 99760 w 2208308"/>
              <a:gd name="connsiteY100" fmla="*/ 499130 h 507788"/>
              <a:gd name="connsiteX101" fmla="*/ 92521 w 2208308"/>
              <a:gd name="connsiteY101" fmla="*/ 503225 h 507788"/>
              <a:gd name="connsiteX102" fmla="*/ 78328 w 2208308"/>
              <a:gd name="connsiteY102" fmla="*/ 501701 h 507788"/>
              <a:gd name="connsiteX103" fmla="*/ 49944 w 2208308"/>
              <a:gd name="connsiteY103" fmla="*/ 503702 h 507788"/>
              <a:gd name="connsiteX104" fmla="*/ 40038 w 2208308"/>
              <a:gd name="connsiteY104" fmla="*/ 497796 h 507788"/>
              <a:gd name="connsiteX105" fmla="*/ 24131 w 2208308"/>
              <a:gd name="connsiteY105" fmla="*/ 483223 h 507788"/>
              <a:gd name="connsiteX106" fmla="*/ 20416 w 2208308"/>
              <a:gd name="connsiteY106" fmla="*/ 463030 h 507788"/>
              <a:gd name="connsiteX107" fmla="*/ 15178 w 2208308"/>
              <a:gd name="connsiteY107" fmla="*/ 449600 h 507788"/>
              <a:gd name="connsiteX108" fmla="*/ 5938 w 2208308"/>
              <a:gd name="connsiteY108" fmla="*/ 420548 h 507788"/>
              <a:gd name="connsiteX109" fmla="*/ 10415 w 2208308"/>
              <a:gd name="connsiteY109" fmla="*/ 397593 h 507788"/>
              <a:gd name="connsiteX110" fmla="*/ 20321 w 2208308"/>
              <a:gd name="connsiteY110" fmla="*/ 381496 h 507788"/>
              <a:gd name="connsiteX111" fmla="*/ 12225 w 2208308"/>
              <a:gd name="connsiteY111" fmla="*/ 347873 h 507788"/>
              <a:gd name="connsiteX112" fmla="*/ 6605 w 2208308"/>
              <a:gd name="connsiteY112" fmla="*/ 265862 h 507788"/>
              <a:gd name="connsiteX113" fmla="*/ 1271 w 2208308"/>
              <a:gd name="connsiteY113" fmla="*/ 225000 h 507788"/>
              <a:gd name="connsiteX114" fmla="*/ 12987 w 2208308"/>
              <a:gd name="connsiteY114" fmla="*/ 120416 h 507788"/>
              <a:gd name="connsiteX115" fmla="*/ 72042 w 2208308"/>
              <a:gd name="connsiteY115" fmla="*/ 83078 h 507788"/>
              <a:gd name="connsiteX116" fmla="*/ 116714 w 2208308"/>
              <a:gd name="connsiteY116" fmla="*/ 62123 h 507788"/>
              <a:gd name="connsiteX117" fmla="*/ 180436 w 2208308"/>
              <a:gd name="connsiteY117" fmla="*/ 58408 h 507788"/>
              <a:gd name="connsiteX118" fmla="*/ 233014 w 2208308"/>
              <a:gd name="connsiteY118" fmla="*/ 58979 h 507788"/>
              <a:gd name="connsiteX119" fmla="*/ 352744 w 2208308"/>
              <a:gd name="connsiteY119" fmla="*/ 59170 h 507788"/>
              <a:gd name="connsiteX120" fmla="*/ 392844 w 2208308"/>
              <a:gd name="connsiteY120" fmla="*/ 49169 h 507788"/>
              <a:gd name="connsiteX121" fmla="*/ 471616 w 2208308"/>
              <a:gd name="connsiteY121" fmla="*/ 51836 h 507788"/>
              <a:gd name="connsiteX122" fmla="*/ 486665 w 2208308"/>
              <a:gd name="connsiteY122" fmla="*/ 53264 h 507788"/>
              <a:gd name="connsiteX123" fmla="*/ 501524 w 2208308"/>
              <a:gd name="connsiteY123" fmla="*/ 53836 h 507788"/>
              <a:gd name="connsiteX124" fmla="*/ 538386 w 2208308"/>
              <a:gd name="connsiteY124" fmla="*/ 48883 h 507788"/>
              <a:gd name="connsiteX125" fmla="*/ 586011 w 2208308"/>
              <a:gd name="connsiteY125" fmla="*/ 40787 h 507788"/>
              <a:gd name="connsiteX126" fmla="*/ 594583 w 2208308"/>
              <a:gd name="connsiteY126" fmla="*/ 40120 h 507788"/>
              <a:gd name="connsiteX127" fmla="*/ 640494 w 2208308"/>
              <a:gd name="connsiteY127" fmla="*/ 32786 h 507788"/>
              <a:gd name="connsiteX128" fmla="*/ 647638 w 2208308"/>
              <a:gd name="connsiteY128" fmla="*/ 29261 h 507788"/>
              <a:gd name="connsiteX129" fmla="*/ 655353 w 2208308"/>
              <a:gd name="connsiteY129" fmla="*/ 26213 h 507788"/>
              <a:gd name="connsiteX130" fmla="*/ 714027 w 2208308"/>
              <a:gd name="connsiteY130" fmla="*/ 26023 h 507788"/>
              <a:gd name="connsiteX131" fmla="*/ 757366 w 2208308"/>
              <a:gd name="connsiteY131" fmla="*/ 22022 h 507788"/>
              <a:gd name="connsiteX132" fmla="*/ 783369 w 2208308"/>
              <a:gd name="connsiteY132" fmla="*/ 19165 h 507788"/>
              <a:gd name="connsiteX133" fmla="*/ 879667 w 2208308"/>
              <a:gd name="connsiteY133" fmla="*/ 15355 h 507788"/>
              <a:gd name="connsiteX134" fmla="*/ 888144 w 2208308"/>
              <a:gd name="connsiteY134" fmla="*/ 17450 h 507788"/>
              <a:gd name="connsiteX135" fmla="*/ 953485 w 2208308"/>
              <a:gd name="connsiteY135" fmla="*/ 17927 h 507788"/>
              <a:gd name="connsiteX136" fmla="*/ 995491 w 2208308"/>
              <a:gd name="connsiteY136" fmla="*/ 17927 h 507788"/>
              <a:gd name="connsiteX137" fmla="*/ 1001777 w 2208308"/>
              <a:gd name="connsiteY137" fmla="*/ 18308 h 507788"/>
              <a:gd name="connsiteX138" fmla="*/ 1009397 w 2208308"/>
              <a:gd name="connsiteY138" fmla="*/ 14307 h 507788"/>
              <a:gd name="connsiteX139" fmla="*/ 1061404 w 2208308"/>
              <a:gd name="connsiteY139" fmla="*/ 18498 h 507788"/>
              <a:gd name="connsiteX140" fmla="*/ 1072929 w 2208308"/>
              <a:gd name="connsiteY140" fmla="*/ 20308 h 507788"/>
              <a:gd name="connsiteX141" fmla="*/ 1114172 w 2208308"/>
              <a:gd name="connsiteY141" fmla="*/ 18974 h 507788"/>
              <a:gd name="connsiteX142" fmla="*/ 1116649 w 2208308"/>
              <a:gd name="connsiteY142" fmla="*/ 17546 h 507788"/>
              <a:gd name="connsiteX143" fmla="*/ 1187610 w 2208308"/>
              <a:gd name="connsiteY143" fmla="*/ 27547 h 507788"/>
              <a:gd name="connsiteX144" fmla="*/ 1197516 w 2208308"/>
              <a:gd name="connsiteY144" fmla="*/ 10688 h 507788"/>
              <a:gd name="connsiteX145" fmla="*/ 1203040 w 2208308"/>
              <a:gd name="connsiteY145" fmla="*/ 12974 h 507788"/>
              <a:gd name="connsiteX146" fmla="*/ 1214851 w 2208308"/>
              <a:gd name="connsiteY146" fmla="*/ 13831 h 507788"/>
              <a:gd name="connsiteX147" fmla="*/ 1221138 w 2208308"/>
              <a:gd name="connsiteY147" fmla="*/ 8306 h 507788"/>
              <a:gd name="connsiteX148" fmla="*/ 1232187 w 2208308"/>
              <a:gd name="connsiteY148" fmla="*/ 115 h 507788"/>
              <a:gd name="connsiteX149" fmla="*/ 1281526 w 2208308"/>
              <a:gd name="connsiteY149" fmla="*/ 3639 h 507788"/>
              <a:gd name="connsiteX150" fmla="*/ 1281526 w 2208308"/>
              <a:gd name="connsiteY150" fmla="*/ 3639 h 507788"/>
              <a:gd name="connsiteX151" fmla="*/ 1332961 w 2208308"/>
              <a:gd name="connsiteY151" fmla="*/ 11354 h 507788"/>
              <a:gd name="connsiteX152" fmla="*/ 1346773 w 2208308"/>
              <a:gd name="connsiteY152" fmla="*/ 8783 h 507788"/>
              <a:gd name="connsiteX153" fmla="*/ 1357536 w 2208308"/>
              <a:gd name="connsiteY153" fmla="*/ 9640 h 507788"/>
              <a:gd name="connsiteX154" fmla="*/ 1381825 w 2208308"/>
              <a:gd name="connsiteY154" fmla="*/ 15926 h 507788"/>
              <a:gd name="connsiteX155" fmla="*/ 1407447 w 2208308"/>
              <a:gd name="connsiteY155" fmla="*/ 19070 h 507788"/>
              <a:gd name="connsiteX156" fmla="*/ 1435546 w 2208308"/>
              <a:gd name="connsiteY156" fmla="*/ 23546 h 507788"/>
              <a:gd name="connsiteX157" fmla="*/ 1457263 w 2208308"/>
              <a:gd name="connsiteY157" fmla="*/ 41453 h 507788"/>
              <a:gd name="connsiteX158" fmla="*/ 1469931 w 2208308"/>
              <a:gd name="connsiteY158" fmla="*/ 47835 h 507788"/>
              <a:gd name="connsiteX159" fmla="*/ 1480027 w 2208308"/>
              <a:gd name="connsiteY159" fmla="*/ 45454 h 507788"/>
              <a:gd name="connsiteX160" fmla="*/ 1489838 w 2208308"/>
              <a:gd name="connsiteY160" fmla="*/ 40787 h 507788"/>
              <a:gd name="connsiteX161" fmla="*/ 1500887 w 2208308"/>
              <a:gd name="connsiteY161" fmla="*/ 39644 h 507788"/>
              <a:gd name="connsiteX162" fmla="*/ 1533177 w 2208308"/>
              <a:gd name="connsiteY162" fmla="*/ 34119 h 507788"/>
              <a:gd name="connsiteX163" fmla="*/ 1541368 w 2208308"/>
              <a:gd name="connsiteY163" fmla="*/ 36310 h 507788"/>
              <a:gd name="connsiteX164" fmla="*/ 1543273 w 2208308"/>
              <a:gd name="connsiteY164" fmla="*/ 43454 h 507788"/>
              <a:gd name="connsiteX165" fmla="*/ 1532510 w 2208308"/>
              <a:gd name="connsiteY165" fmla="*/ 52502 h 507788"/>
              <a:gd name="connsiteX166" fmla="*/ 1537177 w 2208308"/>
              <a:gd name="connsiteY166" fmla="*/ 64599 h 507788"/>
              <a:gd name="connsiteX167" fmla="*/ 1537558 w 2208308"/>
              <a:gd name="connsiteY167" fmla="*/ 64790 h 507788"/>
              <a:gd name="connsiteX168" fmla="*/ 1566419 w 2208308"/>
              <a:gd name="connsiteY168" fmla="*/ 61170 h 507788"/>
              <a:gd name="connsiteX169" fmla="*/ 1609948 w 2208308"/>
              <a:gd name="connsiteY169" fmla="*/ 40596 h 507788"/>
              <a:gd name="connsiteX170" fmla="*/ 1618521 w 2208308"/>
              <a:gd name="connsiteY170" fmla="*/ 42882 h 507788"/>
              <a:gd name="connsiteX171" fmla="*/ 1640809 w 2208308"/>
              <a:gd name="connsiteY171" fmla="*/ 37548 h 507788"/>
              <a:gd name="connsiteX172" fmla="*/ 1660431 w 2208308"/>
              <a:gd name="connsiteY172" fmla="*/ 36024 h 507788"/>
              <a:gd name="connsiteX173" fmla="*/ 1666146 w 2208308"/>
              <a:gd name="connsiteY173" fmla="*/ 42120 h 507788"/>
              <a:gd name="connsiteX174" fmla="*/ 1680433 w 2208308"/>
              <a:gd name="connsiteY174" fmla="*/ 51455 h 507788"/>
              <a:gd name="connsiteX175" fmla="*/ 1704913 w 2208308"/>
              <a:gd name="connsiteY175" fmla="*/ 55741 h 507788"/>
              <a:gd name="connsiteX176" fmla="*/ 1723677 w 2208308"/>
              <a:gd name="connsiteY176" fmla="*/ 59932 h 507788"/>
              <a:gd name="connsiteX177" fmla="*/ 1736917 w 2208308"/>
              <a:gd name="connsiteY177" fmla="*/ 56979 h 507788"/>
              <a:gd name="connsiteX178" fmla="*/ 1753776 w 2208308"/>
              <a:gd name="connsiteY178" fmla="*/ 58979 h 507788"/>
              <a:gd name="connsiteX179" fmla="*/ 1769683 w 2208308"/>
              <a:gd name="connsiteY179" fmla="*/ 52788 h 507788"/>
              <a:gd name="connsiteX180" fmla="*/ 1790161 w 2208308"/>
              <a:gd name="connsiteY180" fmla="*/ 68028 h 507788"/>
              <a:gd name="connsiteX181" fmla="*/ 1799972 w 2208308"/>
              <a:gd name="connsiteY181" fmla="*/ 83840 h 507788"/>
              <a:gd name="connsiteX182" fmla="*/ 1822546 w 2208308"/>
              <a:gd name="connsiteY182" fmla="*/ 84602 h 507788"/>
              <a:gd name="connsiteX183" fmla="*/ 1832643 w 2208308"/>
              <a:gd name="connsiteY183" fmla="*/ 80030 h 507788"/>
              <a:gd name="connsiteX184" fmla="*/ 1858837 w 2208308"/>
              <a:gd name="connsiteY184" fmla="*/ 83173 h 507788"/>
              <a:gd name="connsiteX185" fmla="*/ 1864456 w 2208308"/>
              <a:gd name="connsiteY185" fmla="*/ 83744 h 507788"/>
              <a:gd name="connsiteX186" fmla="*/ 1866361 w 2208308"/>
              <a:gd name="connsiteY186" fmla="*/ 81649 h 507788"/>
              <a:gd name="connsiteX187" fmla="*/ 1920273 w 2208308"/>
              <a:gd name="connsiteY187" fmla="*/ 95841 h 507788"/>
              <a:gd name="connsiteX188" fmla="*/ 1930655 w 2208308"/>
              <a:gd name="connsiteY188" fmla="*/ 101937 h 507788"/>
              <a:gd name="connsiteX189" fmla="*/ 1972279 w 2208308"/>
              <a:gd name="connsiteY189" fmla="*/ 132798 h 507788"/>
              <a:gd name="connsiteX190" fmla="*/ 1980280 w 2208308"/>
              <a:gd name="connsiteY190" fmla="*/ 122416 h 507788"/>
              <a:gd name="connsiteX191" fmla="*/ 2017142 w 2208308"/>
              <a:gd name="connsiteY191" fmla="*/ 135751 h 507788"/>
              <a:gd name="connsiteX192" fmla="*/ 2018571 w 2208308"/>
              <a:gd name="connsiteY192" fmla="*/ 144038 h 507788"/>
              <a:gd name="connsiteX193" fmla="*/ 2024381 w 2208308"/>
              <a:gd name="connsiteY193" fmla="*/ 144800 h 507788"/>
              <a:gd name="connsiteX194" fmla="*/ 2040955 w 2208308"/>
              <a:gd name="connsiteY194" fmla="*/ 133846 h 507788"/>
              <a:gd name="connsiteX195" fmla="*/ 2036859 w 2208308"/>
              <a:gd name="connsiteY195" fmla="*/ 124702 h 507788"/>
              <a:gd name="connsiteX196" fmla="*/ 2081912 w 2208308"/>
              <a:gd name="connsiteY196" fmla="*/ 122702 h 507788"/>
              <a:gd name="connsiteX197" fmla="*/ 2079150 w 2208308"/>
              <a:gd name="connsiteY197" fmla="*/ 129750 h 507788"/>
              <a:gd name="connsiteX198" fmla="*/ 2068101 w 2208308"/>
              <a:gd name="connsiteY198" fmla="*/ 130226 h 507788"/>
              <a:gd name="connsiteX199" fmla="*/ 2053528 w 2208308"/>
              <a:gd name="connsiteY199" fmla="*/ 138989 h 507788"/>
              <a:gd name="connsiteX200" fmla="*/ 2060195 w 2208308"/>
              <a:gd name="connsiteY200" fmla="*/ 143276 h 507788"/>
              <a:gd name="connsiteX201" fmla="*/ 2086389 w 2208308"/>
              <a:gd name="connsiteY201" fmla="*/ 144228 h 507788"/>
              <a:gd name="connsiteX202" fmla="*/ 2112297 w 2208308"/>
              <a:gd name="connsiteY202" fmla="*/ 149467 h 507788"/>
              <a:gd name="connsiteX203" fmla="*/ 2131347 w 2208308"/>
              <a:gd name="connsiteY203" fmla="*/ 161183 h 507788"/>
              <a:gd name="connsiteX204" fmla="*/ 2117345 w 2208308"/>
              <a:gd name="connsiteY204" fmla="*/ 161945 h 507788"/>
              <a:gd name="connsiteX205" fmla="*/ 2073625 w 2208308"/>
              <a:gd name="connsiteY205" fmla="*/ 155087 h 507788"/>
              <a:gd name="connsiteX206" fmla="*/ 2064291 w 2208308"/>
              <a:gd name="connsiteY206" fmla="*/ 161468 h 507788"/>
              <a:gd name="connsiteX207" fmla="*/ 2070673 w 2208308"/>
              <a:gd name="connsiteY207" fmla="*/ 165755 h 507788"/>
              <a:gd name="connsiteX208" fmla="*/ 2066672 w 2208308"/>
              <a:gd name="connsiteY208" fmla="*/ 167850 h 507788"/>
              <a:gd name="connsiteX209" fmla="*/ 2041526 w 2208308"/>
              <a:gd name="connsiteY209" fmla="*/ 174041 h 507788"/>
              <a:gd name="connsiteX210" fmla="*/ 2019904 w 2208308"/>
              <a:gd name="connsiteY210" fmla="*/ 172517 h 507788"/>
              <a:gd name="connsiteX211" fmla="*/ 2007903 w 2208308"/>
              <a:gd name="connsiteY211" fmla="*/ 173565 h 507788"/>
              <a:gd name="connsiteX212" fmla="*/ 2010189 w 2208308"/>
              <a:gd name="connsiteY212" fmla="*/ 180995 h 507788"/>
              <a:gd name="connsiteX213" fmla="*/ 2006188 w 2208308"/>
              <a:gd name="connsiteY213" fmla="*/ 187186 h 507788"/>
              <a:gd name="connsiteX214" fmla="*/ 1996568 w 2208308"/>
              <a:gd name="connsiteY214" fmla="*/ 188329 h 507788"/>
              <a:gd name="connsiteX215" fmla="*/ 2012284 w 2208308"/>
              <a:gd name="connsiteY215" fmla="*/ 191472 h 507788"/>
              <a:gd name="connsiteX216" fmla="*/ 2018571 w 2208308"/>
              <a:gd name="connsiteY216" fmla="*/ 191853 h 507788"/>
              <a:gd name="connsiteX217" fmla="*/ 2024572 w 2208308"/>
              <a:gd name="connsiteY217" fmla="*/ 192520 h 507788"/>
              <a:gd name="connsiteX218" fmla="*/ 2047717 w 2208308"/>
              <a:gd name="connsiteY218" fmla="*/ 195187 h 507788"/>
              <a:gd name="connsiteX219" fmla="*/ 2064196 w 2208308"/>
              <a:gd name="connsiteY219" fmla="*/ 202426 h 507788"/>
              <a:gd name="connsiteX220" fmla="*/ 2066482 w 2208308"/>
              <a:gd name="connsiteY220" fmla="*/ 203759 h 507788"/>
              <a:gd name="connsiteX221" fmla="*/ 2098486 w 2208308"/>
              <a:gd name="connsiteY221" fmla="*/ 211951 h 507788"/>
              <a:gd name="connsiteX222" fmla="*/ 2117821 w 2208308"/>
              <a:gd name="connsiteY222" fmla="*/ 217380 h 507788"/>
              <a:gd name="connsiteX223" fmla="*/ 2120203 w 2208308"/>
              <a:gd name="connsiteY223" fmla="*/ 222143 h 507788"/>
              <a:gd name="connsiteX224" fmla="*/ 2118107 w 2208308"/>
              <a:gd name="connsiteY224" fmla="*/ 223667 h 507788"/>
              <a:gd name="connsiteX225" fmla="*/ 2076102 w 2208308"/>
              <a:gd name="connsiteY225" fmla="*/ 216713 h 507788"/>
              <a:gd name="connsiteX226" fmla="*/ 2075435 w 2208308"/>
              <a:gd name="connsiteY226" fmla="*/ 216713 h 507788"/>
              <a:gd name="connsiteX227" fmla="*/ 2104486 w 2208308"/>
              <a:gd name="connsiteY227" fmla="*/ 231858 h 507788"/>
              <a:gd name="connsiteX228" fmla="*/ 2129537 w 2208308"/>
              <a:gd name="connsiteY228" fmla="*/ 243479 h 507788"/>
              <a:gd name="connsiteX229" fmla="*/ 2134776 w 2208308"/>
              <a:gd name="connsiteY229" fmla="*/ 246717 h 507788"/>
              <a:gd name="connsiteX230" fmla="*/ 2123060 w 2208308"/>
              <a:gd name="connsiteY230" fmla="*/ 248717 h 507788"/>
              <a:gd name="connsiteX231" fmla="*/ 2088865 w 2208308"/>
              <a:gd name="connsiteY231" fmla="*/ 240240 h 507788"/>
              <a:gd name="connsiteX232" fmla="*/ 2052385 w 2208308"/>
              <a:gd name="connsiteY232" fmla="*/ 231953 h 507788"/>
              <a:gd name="connsiteX233" fmla="*/ 2032001 w 2208308"/>
              <a:gd name="connsiteY233" fmla="*/ 229286 h 507788"/>
              <a:gd name="connsiteX234" fmla="*/ 2015047 w 2208308"/>
              <a:gd name="connsiteY234" fmla="*/ 221381 h 507788"/>
              <a:gd name="connsiteX235" fmla="*/ 2007903 w 2208308"/>
              <a:gd name="connsiteY235" fmla="*/ 223571 h 507788"/>
              <a:gd name="connsiteX236" fmla="*/ 1977994 w 2208308"/>
              <a:gd name="connsiteY236" fmla="*/ 221095 h 507788"/>
              <a:gd name="connsiteX237" fmla="*/ 1977994 w 2208308"/>
              <a:gd name="connsiteY237" fmla="*/ 221095 h 507788"/>
              <a:gd name="connsiteX238" fmla="*/ 1970565 w 2208308"/>
              <a:gd name="connsiteY238" fmla="*/ 224714 h 507788"/>
              <a:gd name="connsiteX239" fmla="*/ 1979328 w 2208308"/>
              <a:gd name="connsiteY239" fmla="*/ 234335 h 507788"/>
              <a:gd name="connsiteX240" fmla="*/ 2006665 w 2208308"/>
              <a:gd name="connsiteY240" fmla="*/ 248432 h 507788"/>
              <a:gd name="connsiteX241" fmla="*/ 2017142 w 2208308"/>
              <a:gd name="connsiteY241" fmla="*/ 249575 h 507788"/>
              <a:gd name="connsiteX242" fmla="*/ 2021238 w 2208308"/>
              <a:gd name="connsiteY242" fmla="*/ 257290 h 507788"/>
              <a:gd name="connsiteX243" fmla="*/ 2036287 w 2208308"/>
              <a:gd name="connsiteY243" fmla="*/ 260052 h 507788"/>
              <a:gd name="connsiteX244" fmla="*/ 2055623 w 2208308"/>
              <a:gd name="connsiteY244" fmla="*/ 284341 h 507788"/>
              <a:gd name="connsiteX245" fmla="*/ 2075721 w 2208308"/>
              <a:gd name="connsiteY245" fmla="*/ 291008 h 507788"/>
              <a:gd name="connsiteX246" fmla="*/ 2092580 w 2208308"/>
              <a:gd name="connsiteY246" fmla="*/ 318440 h 507788"/>
              <a:gd name="connsiteX247" fmla="*/ 2110773 w 2208308"/>
              <a:gd name="connsiteY247" fmla="*/ 324727 h 507788"/>
              <a:gd name="connsiteX248" fmla="*/ 2121250 w 2208308"/>
              <a:gd name="connsiteY248" fmla="*/ 329299 h 507788"/>
              <a:gd name="connsiteX249" fmla="*/ 2150302 w 2208308"/>
              <a:gd name="connsiteY249" fmla="*/ 333871 h 507788"/>
              <a:gd name="connsiteX250" fmla="*/ 2171447 w 2208308"/>
              <a:gd name="connsiteY250" fmla="*/ 351397 h 507788"/>
              <a:gd name="connsiteX251" fmla="*/ 2168113 w 2208308"/>
              <a:gd name="connsiteY251" fmla="*/ 353207 h 507788"/>
              <a:gd name="connsiteX252" fmla="*/ 2133823 w 2208308"/>
              <a:gd name="connsiteY252" fmla="*/ 354445 h 507788"/>
              <a:gd name="connsiteX253" fmla="*/ 2124775 w 2208308"/>
              <a:gd name="connsiteY253" fmla="*/ 348254 h 507788"/>
              <a:gd name="connsiteX254" fmla="*/ 2116583 w 2208308"/>
              <a:gd name="connsiteY254" fmla="*/ 351016 h 507788"/>
              <a:gd name="connsiteX255" fmla="*/ 2107534 w 2208308"/>
              <a:gd name="connsiteY255" fmla="*/ 346158 h 507788"/>
              <a:gd name="connsiteX256" fmla="*/ 2097533 w 2208308"/>
              <a:gd name="connsiteY256" fmla="*/ 344539 h 507788"/>
              <a:gd name="connsiteX257" fmla="*/ 2086579 w 2208308"/>
              <a:gd name="connsiteY257" fmla="*/ 339681 h 507788"/>
              <a:gd name="connsiteX258" fmla="*/ 2060671 w 2208308"/>
              <a:gd name="connsiteY258" fmla="*/ 327870 h 507788"/>
              <a:gd name="connsiteX259" fmla="*/ 2062862 w 2208308"/>
              <a:gd name="connsiteY259" fmla="*/ 336157 h 507788"/>
              <a:gd name="connsiteX260" fmla="*/ 2043431 w 2208308"/>
              <a:gd name="connsiteY260" fmla="*/ 335966 h 507788"/>
              <a:gd name="connsiteX261" fmla="*/ 2030001 w 2208308"/>
              <a:gd name="connsiteY261" fmla="*/ 335204 h 507788"/>
              <a:gd name="connsiteX262" fmla="*/ 2045241 w 2208308"/>
              <a:gd name="connsiteY262" fmla="*/ 348920 h 507788"/>
              <a:gd name="connsiteX263" fmla="*/ 2057814 w 2208308"/>
              <a:gd name="connsiteY263" fmla="*/ 358636 h 507788"/>
              <a:gd name="connsiteX264" fmla="*/ 2071149 w 2208308"/>
              <a:gd name="connsiteY264" fmla="*/ 363017 h 507788"/>
              <a:gd name="connsiteX265" fmla="*/ 2086484 w 2208308"/>
              <a:gd name="connsiteY265" fmla="*/ 363779 h 507788"/>
              <a:gd name="connsiteX266" fmla="*/ 2091818 w 2208308"/>
              <a:gd name="connsiteY266" fmla="*/ 365875 h 507788"/>
              <a:gd name="connsiteX267" fmla="*/ 2110011 w 2208308"/>
              <a:gd name="connsiteY267" fmla="*/ 370161 h 507788"/>
              <a:gd name="connsiteX268" fmla="*/ 2130680 w 2208308"/>
              <a:gd name="connsiteY268" fmla="*/ 376257 h 507788"/>
              <a:gd name="connsiteX269" fmla="*/ 2152873 w 2208308"/>
              <a:gd name="connsiteY269" fmla="*/ 387211 h 507788"/>
              <a:gd name="connsiteX270" fmla="*/ 2174305 w 2208308"/>
              <a:gd name="connsiteY270" fmla="*/ 400451 h 507788"/>
              <a:gd name="connsiteX271" fmla="*/ 2162494 w 2208308"/>
              <a:gd name="connsiteY271" fmla="*/ 403213 h 507788"/>
              <a:gd name="connsiteX272" fmla="*/ 2144872 w 2208308"/>
              <a:gd name="connsiteY272" fmla="*/ 398450 h 507788"/>
              <a:gd name="connsiteX273" fmla="*/ 2126584 w 2208308"/>
              <a:gd name="connsiteY273" fmla="*/ 400641 h 507788"/>
              <a:gd name="connsiteX274" fmla="*/ 2134681 w 2208308"/>
              <a:gd name="connsiteY274" fmla="*/ 407594 h 507788"/>
              <a:gd name="connsiteX275" fmla="*/ 2145253 w 2208308"/>
              <a:gd name="connsiteY275" fmla="*/ 413024 h 507788"/>
              <a:gd name="connsiteX276" fmla="*/ 2154112 w 2208308"/>
              <a:gd name="connsiteY276" fmla="*/ 417881 h 507788"/>
              <a:gd name="connsiteX277" fmla="*/ 2163065 w 2208308"/>
              <a:gd name="connsiteY277" fmla="*/ 418453 h 507788"/>
              <a:gd name="connsiteX278" fmla="*/ 2181448 w 2208308"/>
              <a:gd name="connsiteY278" fmla="*/ 428930 h 507788"/>
              <a:gd name="connsiteX279" fmla="*/ 2208309 w 2208308"/>
              <a:gd name="connsiteY279" fmla="*/ 442170 h 507788"/>
              <a:gd name="connsiteX280" fmla="*/ 2182020 w 2208308"/>
              <a:gd name="connsiteY280" fmla="*/ 441789 h 507788"/>
              <a:gd name="connsiteX281" fmla="*/ 2168304 w 2208308"/>
              <a:gd name="connsiteY281" fmla="*/ 438836 h 507788"/>
              <a:gd name="connsiteX282" fmla="*/ 2156017 w 2208308"/>
              <a:gd name="connsiteY282" fmla="*/ 433407 h 507788"/>
              <a:gd name="connsiteX283" fmla="*/ 2126108 w 2208308"/>
              <a:gd name="connsiteY283" fmla="*/ 425501 h 507788"/>
              <a:gd name="connsiteX284" fmla="*/ 2108487 w 2208308"/>
              <a:gd name="connsiteY284" fmla="*/ 429311 h 507788"/>
              <a:gd name="connsiteX285" fmla="*/ 2052670 w 2208308"/>
              <a:gd name="connsiteY285" fmla="*/ 493034 h 507788"/>
              <a:gd name="connsiteX286" fmla="*/ 2084865 w 2208308"/>
              <a:gd name="connsiteY286" fmla="*/ 496558 h 507788"/>
              <a:gd name="connsiteX287" fmla="*/ 2042669 w 2208308"/>
              <a:gd name="connsiteY287" fmla="*/ 505607 h 507788"/>
              <a:gd name="connsiteX288" fmla="*/ 2019047 w 2208308"/>
              <a:gd name="connsiteY288" fmla="*/ 501701 h 507788"/>
              <a:gd name="connsiteX289" fmla="*/ 2004379 w 2208308"/>
              <a:gd name="connsiteY289" fmla="*/ 503702 h 507788"/>
              <a:gd name="connsiteX290" fmla="*/ 1979518 w 2208308"/>
              <a:gd name="connsiteY290" fmla="*/ 505416 h 507788"/>
              <a:gd name="connsiteX291" fmla="*/ 1965517 w 2208308"/>
              <a:gd name="connsiteY291" fmla="*/ 505702 h 507788"/>
              <a:gd name="connsiteX292" fmla="*/ 1942752 w 2208308"/>
              <a:gd name="connsiteY292" fmla="*/ 502082 h 507788"/>
              <a:gd name="connsiteX293" fmla="*/ 1936656 w 2208308"/>
              <a:gd name="connsiteY293" fmla="*/ 497320 h 507788"/>
              <a:gd name="connsiteX294" fmla="*/ 1941514 w 2208308"/>
              <a:gd name="connsiteY294" fmla="*/ 491414 h 507788"/>
              <a:gd name="connsiteX295" fmla="*/ 1973327 w 2208308"/>
              <a:gd name="connsiteY295" fmla="*/ 491033 h 507788"/>
              <a:gd name="connsiteX296" fmla="*/ 1982090 w 2208308"/>
              <a:gd name="connsiteY296" fmla="*/ 493510 h 507788"/>
              <a:gd name="connsiteX297" fmla="*/ 1994092 w 2208308"/>
              <a:gd name="connsiteY297" fmla="*/ 491986 h 507788"/>
              <a:gd name="connsiteX298" fmla="*/ 2025619 w 2208308"/>
              <a:gd name="connsiteY298" fmla="*/ 488271 h 507788"/>
              <a:gd name="connsiteX299" fmla="*/ 2052766 w 2208308"/>
              <a:gd name="connsiteY299" fmla="*/ 493129 h 507788"/>
              <a:gd name="connsiteX300" fmla="*/ 1926178 w 2208308"/>
              <a:gd name="connsiteY300" fmla="*/ 473222 h 507788"/>
              <a:gd name="connsiteX301" fmla="*/ 1936751 w 2208308"/>
              <a:gd name="connsiteY301" fmla="*/ 466649 h 507788"/>
              <a:gd name="connsiteX302" fmla="*/ 1948086 w 2208308"/>
              <a:gd name="connsiteY302" fmla="*/ 475508 h 507788"/>
              <a:gd name="connsiteX303" fmla="*/ 1926274 w 2208308"/>
              <a:gd name="connsiteY303" fmla="*/ 473126 h 507788"/>
              <a:gd name="connsiteX304" fmla="*/ 1973422 w 2208308"/>
              <a:gd name="connsiteY304" fmla="*/ 484461 h 507788"/>
              <a:gd name="connsiteX305" fmla="*/ 1956754 w 2208308"/>
              <a:gd name="connsiteY305" fmla="*/ 476651 h 507788"/>
              <a:gd name="connsiteX306" fmla="*/ 1977804 w 2208308"/>
              <a:gd name="connsiteY306" fmla="*/ 474460 h 507788"/>
              <a:gd name="connsiteX307" fmla="*/ 2021905 w 2208308"/>
              <a:gd name="connsiteY307" fmla="*/ 479413 h 507788"/>
              <a:gd name="connsiteX308" fmla="*/ 1973422 w 2208308"/>
              <a:gd name="connsiteY308" fmla="*/ 484461 h 507788"/>
              <a:gd name="connsiteX309" fmla="*/ 2091818 w 2208308"/>
              <a:gd name="connsiteY309" fmla="*/ 473984 h 507788"/>
              <a:gd name="connsiteX310" fmla="*/ 2079436 w 2208308"/>
              <a:gd name="connsiteY310" fmla="*/ 474174 h 507788"/>
              <a:gd name="connsiteX311" fmla="*/ 2074292 w 2208308"/>
              <a:gd name="connsiteY311" fmla="*/ 460744 h 507788"/>
              <a:gd name="connsiteX312" fmla="*/ 2091818 w 2208308"/>
              <a:gd name="connsiteY312" fmla="*/ 473984 h 5077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</a:cxnLst>
            <a:rect l="l" t="t" r="r" b="b"/>
            <a:pathLst>
              <a:path w="2208308" h="507788">
                <a:moveTo>
                  <a:pt x="2050099" y="263195"/>
                </a:moveTo>
                <a:cubicBezTo>
                  <a:pt x="2049146" y="259481"/>
                  <a:pt x="2052289" y="255194"/>
                  <a:pt x="2056195" y="254813"/>
                </a:cubicBezTo>
                <a:cubicBezTo>
                  <a:pt x="2060100" y="254432"/>
                  <a:pt x="2064005" y="254813"/>
                  <a:pt x="2067910" y="255004"/>
                </a:cubicBezTo>
                <a:cubicBezTo>
                  <a:pt x="2070387" y="252432"/>
                  <a:pt x="2072768" y="249670"/>
                  <a:pt x="2075530" y="247479"/>
                </a:cubicBezTo>
                <a:cubicBezTo>
                  <a:pt x="2076483" y="246812"/>
                  <a:pt x="2079150" y="247479"/>
                  <a:pt x="2080293" y="248336"/>
                </a:cubicBezTo>
                <a:cubicBezTo>
                  <a:pt x="2081436" y="249289"/>
                  <a:pt x="2099248" y="261195"/>
                  <a:pt x="2099057" y="262719"/>
                </a:cubicBezTo>
                <a:lnTo>
                  <a:pt x="2099057" y="264910"/>
                </a:lnTo>
                <a:cubicBezTo>
                  <a:pt x="2103343" y="265481"/>
                  <a:pt x="2105915" y="268053"/>
                  <a:pt x="2107820" y="271577"/>
                </a:cubicBezTo>
                <a:cubicBezTo>
                  <a:pt x="2113535" y="272625"/>
                  <a:pt x="2119250" y="273482"/>
                  <a:pt x="2124870" y="274625"/>
                </a:cubicBezTo>
                <a:cubicBezTo>
                  <a:pt x="2127156" y="275102"/>
                  <a:pt x="2129347" y="280721"/>
                  <a:pt x="2127823" y="281674"/>
                </a:cubicBezTo>
                <a:cubicBezTo>
                  <a:pt x="2126299" y="282626"/>
                  <a:pt x="2123917" y="283960"/>
                  <a:pt x="2122870" y="283388"/>
                </a:cubicBezTo>
                <a:cubicBezTo>
                  <a:pt x="2112392" y="277673"/>
                  <a:pt x="2100867" y="276911"/>
                  <a:pt x="2089437" y="275483"/>
                </a:cubicBezTo>
                <a:cubicBezTo>
                  <a:pt x="2077816" y="273768"/>
                  <a:pt x="2066005" y="272435"/>
                  <a:pt x="2054480" y="270149"/>
                </a:cubicBezTo>
                <a:cubicBezTo>
                  <a:pt x="2052575" y="269768"/>
                  <a:pt x="2050765" y="265862"/>
                  <a:pt x="2050099" y="263291"/>
                </a:cubicBezTo>
                <a:close/>
                <a:moveTo>
                  <a:pt x="2164589" y="284722"/>
                </a:moveTo>
                <a:cubicBezTo>
                  <a:pt x="2141348" y="278626"/>
                  <a:pt x="2141348" y="278816"/>
                  <a:pt x="2131633" y="282531"/>
                </a:cubicBezTo>
                <a:cubicBezTo>
                  <a:pt x="2135824" y="285960"/>
                  <a:pt x="2140777" y="285579"/>
                  <a:pt x="2145444" y="286055"/>
                </a:cubicBezTo>
                <a:cubicBezTo>
                  <a:pt x="2150968" y="286532"/>
                  <a:pt x="2156588" y="288913"/>
                  <a:pt x="2164589" y="284722"/>
                </a:cubicBezTo>
                <a:close/>
                <a:moveTo>
                  <a:pt x="2059338" y="175565"/>
                </a:moveTo>
                <a:cubicBezTo>
                  <a:pt x="2054766" y="178709"/>
                  <a:pt x="2050861" y="182995"/>
                  <a:pt x="2046193" y="187186"/>
                </a:cubicBezTo>
                <a:cubicBezTo>
                  <a:pt x="2073340" y="193758"/>
                  <a:pt x="2081531" y="194520"/>
                  <a:pt x="2096009" y="191948"/>
                </a:cubicBezTo>
                <a:cubicBezTo>
                  <a:pt x="2091723" y="186805"/>
                  <a:pt x="2084770" y="189567"/>
                  <a:pt x="2080102" y="186519"/>
                </a:cubicBezTo>
                <a:cubicBezTo>
                  <a:pt x="2075435" y="183376"/>
                  <a:pt x="2072006" y="178518"/>
                  <a:pt x="2067434" y="175375"/>
                </a:cubicBezTo>
                <a:cubicBezTo>
                  <a:pt x="2065529" y="174137"/>
                  <a:pt x="2061338" y="174232"/>
                  <a:pt x="2059338" y="175565"/>
                </a:cubicBezTo>
                <a:close/>
                <a:moveTo>
                  <a:pt x="2109154" y="429502"/>
                </a:moveTo>
                <a:cubicBezTo>
                  <a:pt x="2124203" y="429597"/>
                  <a:pt x="2125346" y="429216"/>
                  <a:pt x="2138300" y="435979"/>
                </a:cubicBezTo>
                <a:cubicBezTo>
                  <a:pt x="2140777" y="446266"/>
                  <a:pt x="2161541" y="445504"/>
                  <a:pt x="2164589" y="453505"/>
                </a:cubicBezTo>
                <a:cubicBezTo>
                  <a:pt x="2165637" y="456267"/>
                  <a:pt x="2187640" y="460934"/>
                  <a:pt x="2187163" y="463506"/>
                </a:cubicBezTo>
                <a:cubicBezTo>
                  <a:pt x="2186687" y="465697"/>
                  <a:pt x="2158588" y="462649"/>
                  <a:pt x="2149349" y="460934"/>
                </a:cubicBezTo>
                <a:cubicBezTo>
                  <a:pt x="2148587" y="460839"/>
                  <a:pt x="2147254" y="461220"/>
                  <a:pt x="2146492" y="460744"/>
                </a:cubicBezTo>
                <a:cubicBezTo>
                  <a:pt x="2127823" y="450266"/>
                  <a:pt x="2126394" y="456267"/>
                  <a:pt x="2106201" y="453124"/>
                </a:cubicBezTo>
                <a:cubicBezTo>
                  <a:pt x="2101153" y="452362"/>
                  <a:pt x="2074673" y="446266"/>
                  <a:pt x="2072292" y="441313"/>
                </a:cubicBezTo>
                <a:cubicBezTo>
                  <a:pt x="2068387" y="440837"/>
                  <a:pt x="2069244" y="441122"/>
                  <a:pt x="2065339" y="440646"/>
                </a:cubicBezTo>
                <a:cubicBezTo>
                  <a:pt x="2063338" y="440360"/>
                  <a:pt x="2058004" y="441313"/>
                  <a:pt x="2056004" y="441122"/>
                </a:cubicBezTo>
                <a:lnTo>
                  <a:pt x="2042955" y="437693"/>
                </a:lnTo>
                <a:cubicBezTo>
                  <a:pt x="2036573" y="436550"/>
                  <a:pt x="2029048" y="437979"/>
                  <a:pt x="2025905" y="429788"/>
                </a:cubicBezTo>
                <a:cubicBezTo>
                  <a:pt x="2025905" y="429788"/>
                  <a:pt x="2023524" y="426073"/>
                  <a:pt x="2022571" y="427787"/>
                </a:cubicBezTo>
                <a:cubicBezTo>
                  <a:pt x="2021619" y="429502"/>
                  <a:pt x="2021809" y="431978"/>
                  <a:pt x="2022381" y="437789"/>
                </a:cubicBezTo>
                <a:cubicBezTo>
                  <a:pt x="2022952" y="443599"/>
                  <a:pt x="2023905" y="443123"/>
                  <a:pt x="2028286" y="451314"/>
                </a:cubicBezTo>
                <a:cubicBezTo>
                  <a:pt x="2032763" y="459506"/>
                  <a:pt x="2050194" y="458458"/>
                  <a:pt x="2050194" y="458458"/>
                </a:cubicBezTo>
                <a:cubicBezTo>
                  <a:pt x="2055528" y="459791"/>
                  <a:pt x="2060957" y="461030"/>
                  <a:pt x="2066101" y="463030"/>
                </a:cubicBezTo>
                <a:cubicBezTo>
                  <a:pt x="2068291" y="463887"/>
                  <a:pt x="2071816" y="465316"/>
                  <a:pt x="2069530" y="470555"/>
                </a:cubicBezTo>
                <a:lnTo>
                  <a:pt x="2062862" y="471888"/>
                </a:lnTo>
                <a:cubicBezTo>
                  <a:pt x="2051242" y="474079"/>
                  <a:pt x="2052289" y="470269"/>
                  <a:pt x="2047051" y="470555"/>
                </a:cubicBezTo>
                <a:cubicBezTo>
                  <a:pt x="2043241" y="470745"/>
                  <a:pt x="2039431" y="470745"/>
                  <a:pt x="2035621" y="470555"/>
                </a:cubicBezTo>
                <a:cubicBezTo>
                  <a:pt x="2032573" y="470364"/>
                  <a:pt x="2008855" y="461696"/>
                  <a:pt x="2008474" y="458553"/>
                </a:cubicBezTo>
                <a:cubicBezTo>
                  <a:pt x="2007808" y="452743"/>
                  <a:pt x="1999330" y="464744"/>
                  <a:pt x="1994092" y="460934"/>
                </a:cubicBezTo>
                <a:lnTo>
                  <a:pt x="1981042" y="459125"/>
                </a:lnTo>
                <a:cubicBezTo>
                  <a:pt x="1967041" y="442361"/>
                  <a:pt x="1954944" y="461030"/>
                  <a:pt x="1945800" y="458172"/>
                </a:cubicBezTo>
                <a:cubicBezTo>
                  <a:pt x="1945800" y="458172"/>
                  <a:pt x="1947895" y="454172"/>
                  <a:pt x="1930465" y="456077"/>
                </a:cubicBezTo>
                <a:cubicBezTo>
                  <a:pt x="1913034" y="457982"/>
                  <a:pt x="1921606" y="459506"/>
                  <a:pt x="1917892" y="462744"/>
                </a:cubicBezTo>
                <a:cubicBezTo>
                  <a:pt x="1914272" y="465983"/>
                  <a:pt x="1911319" y="464554"/>
                  <a:pt x="1909605" y="463316"/>
                </a:cubicBezTo>
                <a:cubicBezTo>
                  <a:pt x="1899032" y="455505"/>
                  <a:pt x="1892365" y="459029"/>
                  <a:pt x="1882649" y="465792"/>
                </a:cubicBezTo>
                <a:cubicBezTo>
                  <a:pt x="1873410" y="472174"/>
                  <a:pt x="1873600" y="462458"/>
                  <a:pt x="1861599" y="463030"/>
                </a:cubicBezTo>
                <a:cubicBezTo>
                  <a:pt x="1859884" y="468840"/>
                  <a:pt x="1869886" y="466840"/>
                  <a:pt x="1870457" y="471317"/>
                </a:cubicBezTo>
                <a:lnTo>
                  <a:pt x="1886459" y="481985"/>
                </a:lnTo>
                <a:lnTo>
                  <a:pt x="1902461" y="482747"/>
                </a:lnTo>
                <a:cubicBezTo>
                  <a:pt x="1914844" y="485414"/>
                  <a:pt x="1921225" y="485318"/>
                  <a:pt x="1933513" y="483318"/>
                </a:cubicBezTo>
                <a:cubicBezTo>
                  <a:pt x="1937418" y="482651"/>
                  <a:pt x="1938561" y="488081"/>
                  <a:pt x="1933513" y="492176"/>
                </a:cubicBezTo>
                <a:cubicBezTo>
                  <a:pt x="1933989" y="492748"/>
                  <a:pt x="1927131" y="498463"/>
                  <a:pt x="1926083" y="498749"/>
                </a:cubicBezTo>
                <a:cubicBezTo>
                  <a:pt x="1919701" y="500654"/>
                  <a:pt x="1916939" y="498749"/>
                  <a:pt x="1911129" y="502844"/>
                </a:cubicBezTo>
                <a:cubicBezTo>
                  <a:pt x="1904461" y="507607"/>
                  <a:pt x="1895508" y="509702"/>
                  <a:pt x="1886459" y="505607"/>
                </a:cubicBezTo>
                <a:lnTo>
                  <a:pt x="1847978" y="503702"/>
                </a:lnTo>
                <a:cubicBezTo>
                  <a:pt x="1840930" y="501320"/>
                  <a:pt x="1831690" y="500273"/>
                  <a:pt x="1825118" y="496463"/>
                </a:cubicBezTo>
                <a:cubicBezTo>
                  <a:pt x="1819403" y="493129"/>
                  <a:pt x="1811593" y="495129"/>
                  <a:pt x="1806925" y="489224"/>
                </a:cubicBezTo>
                <a:cubicBezTo>
                  <a:pt x="1806354" y="488462"/>
                  <a:pt x="1805878" y="487604"/>
                  <a:pt x="1805306" y="486842"/>
                </a:cubicBezTo>
                <a:cubicBezTo>
                  <a:pt x="1801210" y="488081"/>
                  <a:pt x="1778065" y="489224"/>
                  <a:pt x="1773969" y="490462"/>
                </a:cubicBezTo>
                <a:cubicBezTo>
                  <a:pt x="1771969" y="490176"/>
                  <a:pt x="1769968" y="489986"/>
                  <a:pt x="1767873" y="489700"/>
                </a:cubicBezTo>
                <a:cubicBezTo>
                  <a:pt x="1761777" y="490748"/>
                  <a:pt x="1756824" y="495986"/>
                  <a:pt x="1750061" y="494653"/>
                </a:cubicBezTo>
                <a:cubicBezTo>
                  <a:pt x="1740536" y="496177"/>
                  <a:pt x="1731202" y="495224"/>
                  <a:pt x="1722058" y="492081"/>
                </a:cubicBezTo>
                <a:cubicBezTo>
                  <a:pt x="1720153" y="491414"/>
                  <a:pt x="1717867" y="489795"/>
                  <a:pt x="1716533" y="490367"/>
                </a:cubicBezTo>
                <a:cubicBezTo>
                  <a:pt x="1703389" y="495701"/>
                  <a:pt x="1691959" y="486176"/>
                  <a:pt x="1679386" y="486366"/>
                </a:cubicBezTo>
                <a:cubicBezTo>
                  <a:pt x="1674623" y="491319"/>
                  <a:pt x="1668908" y="494653"/>
                  <a:pt x="1662431" y="497129"/>
                </a:cubicBezTo>
                <a:cubicBezTo>
                  <a:pt x="1656716" y="499320"/>
                  <a:pt x="1650906" y="499892"/>
                  <a:pt x="1645477" y="497510"/>
                </a:cubicBezTo>
                <a:cubicBezTo>
                  <a:pt x="1632808" y="491795"/>
                  <a:pt x="1619664" y="490557"/>
                  <a:pt x="1605948" y="490938"/>
                </a:cubicBezTo>
                <a:lnTo>
                  <a:pt x="1512603" y="489319"/>
                </a:lnTo>
                <a:cubicBezTo>
                  <a:pt x="1508126" y="488366"/>
                  <a:pt x="1502983" y="489509"/>
                  <a:pt x="1498411" y="490748"/>
                </a:cubicBezTo>
                <a:cubicBezTo>
                  <a:pt x="1489933" y="493034"/>
                  <a:pt x="1481647" y="496463"/>
                  <a:pt x="1472979" y="491605"/>
                </a:cubicBezTo>
                <a:cubicBezTo>
                  <a:pt x="1460501" y="494081"/>
                  <a:pt x="1448023" y="494177"/>
                  <a:pt x="1435450" y="491986"/>
                </a:cubicBezTo>
                <a:cubicBezTo>
                  <a:pt x="1432879" y="491510"/>
                  <a:pt x="1429831" y="493034"/>
                  <a:pt x="1427068" y="493891"/>
                </a:cubicBezTo>
                <a:cubicBezTo>
                  <a:pt x="1420591" y="495891"/>
                  <a:pt x="1414210" y="498177"/>
                  <a:pt x="1407733" y="500273"/>
                </a:cubicBezTo>
                <a:cubicBezTo>
                  <a:pt x="1402018" y="495415"/>
                  <a:pt x="1396874" y="491033"/>
                  <a:pt x="1391731" y="486652"/>
                </a:cubicBezTo>
                <a:cubicBezTo>
                  <a:pt x="1381825" y="485795"/>
                  <a:pt x="1372204" y="485414"/>
                  <a:pt x="1364965" y="494367"/>
                </a:cubicBezTo>
                <a:cubicBezTo>
                  <a:pt x="1358774" y="502082"/>
                  <a:pt x="1349630" y="502082"/>
                  <a:pt x="1341058" y="502940"/>
                </a:cubicBezTo>
                <a:cubicBezTo>
                  <a:pt x="1339153" y="502178"/>
                  <a:pt x="1336867" y="501892"/>
                  <a:pt x="1335628" y="500558"/>
                </a:cubicBezTo>
                <a:cubicBezTo>
                  <a:pt x="1322865" y="487033"/>
                  <a:pt x="1307625" y="487223"/>
                  <a:pt x="1292480" y="494081"/>
                </a:cubicBezTo>
                <a:lnTo>
                  <a:pt x="939769" y="503606"/>
                </a:lnTo>
                <a:cubicBezTo>
                  <a:pt x="931959" y="503702"/>
                  <a:pt x="875190" y="498653"/>
                  <a:pt x="854330" y="499415"/>
                </a:cubicBezTo>
                <a:lnTo>
                  <a:pt x="590869" y="498939"/>
                </a:lnTo>
                <a:cubicBezTo>
                  <a:pt x="586582" y="501892"/>
                  <a:pt x="581725" y="502082"/>
                  <a:pt x="576867" y="501511"/>
                </a:cubicBezTo>
                <a:cubicBezTo>
                  <a:pt x="571057" y="500844"/>
                  <a:pt x="565246" y="499987"/>
                  <a:pt x="559436" y="499225"/>
                </a:cubicBezTo>
                <a:cubicBezTo>
                  <a:pt x="543720" y="502178"/>
                  <a:pt x="528099" y="504083"/>
                  <a:pt x="512287" y="499701"/>
                </a:cubicBezTo>
                <a:cubicBezTo>
                  <a:pt x="500095" y="498749"/>
                  <a:pt x="465139" y="506369"/>
                  <a:pt x="459233" y="505797"/>
                </a:cubicBezTo>
                <a:cubicBezTo>
                  <a:pt x="438564" y="503892"/>
                  <a:pt x="417895" y="502082"/>
                  <a:pt x="397321" y="499701"/>
                </a:cubicBezTo>
                <a:cubicBezTo>
                  <a:pt x="384652" y="498272"/>
                  <a:pt x="372175" y="497987"/>
                  <a:pt x="359316" y="498844"/>
                </a:cubicBezTo>
                <a:cubicBezTo>
                  <a:pt x="342838" y="499987"/>
                  <a:pt x="325978" y="496082"/>
                  <a:pt x="309310" y="494367"/>
                </a:cubicBezTo>
                <a:cubicBezTo>
                  <a:pt x="303404" y="493700"/>
                  <a:pt x="297499" y="492938"/>
                  <a:pt x="291593" y="492272"/>
                </a:cubicBezTo>
                <a:cubicBezTo>
                  <a:pt x="279877" y="490748"/>
                  <a:pt x="271495" y="494843"/>
                  <a:pt x="259780" y="493319"/>
                </a:cubicBezTo>
                <a:cubicBezTo>
                  <a:pt x="256636" y="492557"/>
                  <a:pt x="209583" y="495034"/>
                  <a:pt x="197296" y="497415"/>
                </a:cubicBezTo>
                <a:cubicBezTo>
                  <a:pt x="180246" y="506845"/>
                  <a:pt x="145289" y="495701"/>
                  <a:pt x="125668" y="498749"/>
                </a:cubicBezTo>
                <a:cubicBezTo>
                  <a:pt x="116809" y="500177"/>
                  <a:pt x="108427" y="499892"/>
                  <a:pt x="99760" y="499130"/>
                </a:cubicBezTo>
                <a:cubicBezTo>
                  <a:pt x="97378" y="500558"/>
                  <a:pt x="94997" y="503035"/>
                  <a:pt x="92521" y="503225"/>
                </a:cubicBezTo>
                <a:cubicBezTo>
                  <a:pt x="87758" y="503511"/>
                  <a:pt x="82234" y="503797"/>
                  <a:pt x="78328" y="501701"/>
                </a:cubicBezTo>
                <a:cubicBezTo>
                  <a:pt x="67946" y="496272"/>
                  <a:pt x="60898" y="506845"/>
                  <a:pt x="49944" y="503702"/>
                </a:cubicBezTo>
                <a:cubicBezTo>
                  <a:pt x="46420" y="502654"/>
                  <a:pt x="43372" y="499796"/>
                  <a:pt x="40038" y="497796"/>
                </a:cubicBezTo>
                <a:cubicBezTo>
                  <a:pt x="31275" y="496748"/>
                  <a:pt x="25655" y="492367"/>
                  <a:pt x="24131" y="483223"/>
                </a:cubicBezTo>
                <a:cubicBezTo>
                  <a:pt x="22988" y="476460"/>
                  <a:pt x="21178" y="469793"/>
                  <a:pt x="20416" y="463030"/>
                </a:cubicBezTo>
                <a:cubicBezTo>
                  <a:pt x="19750" y="457982"/>
                  <a:pt x="18702" y="453124"/>
                  <a:pt x="15178" y="449600"/>
                </a:cubicBezTo>
                <a:cubicBezTo>
                  <a:pt x="6700" y="441313"/>
                  <a:pt x="5653" y="430740"/>
                  <a:pt x="5938" y="420548"/>
                </a:cubicBezTo>
                <a:lnTo>
                  <a:pt x="10415" y="397593"/>
                </a:lnTo>
                <a:cubicBezTo>
                  <a:pt x="16225" y="395593"/>
                  <a:pt x="21274" y="388068"/>
                  <a:pt x="20321" y="381496"/>
                </a:cubicBezTo>
                <a:cubicBezTo>
                  <a:pt x="18797" y="370066"/>
                  <a:pt x="20321" y="358064"/>
                  <a:pt x="12225" y="347873"/>
                </a:cubicBezTo>
                <a:cubicBezTo>
                  <a:pt x="12225" y="347873"/>
                  <a:pt x="1747" y="299295"/>
                  <a:pt x="6605" y="265862"/>
                </a:cubicBezTo>
                <a:cubicBezTo>
                  <a:pt x="11463" y="232430"/>
                  <a:pt x="7367" y="274911"/>
                  <a:pt x="1271" y="225000"/>
                </a:cubicBezTo>
                <a:cubicBezTo>
                  <a:pt x="-4825" y="175184"/>
                  <a:pt x="12987" y="120416"/>
                  <a:pt x="12987" y="120416"/>
                </a:cubicBezTo>
                <a:cubicBezTo>
                  <a:pt x="34132" y="66599"/>
                  <a:pt x="48896" y="89840"/>
                  <a:pt x="72042" y="83078"/>
                </a:cubicBezTo>
                <a:cubicBezTo>
                  <a:pt x="95283" y="76315"/>
                  <a:pt x="106046" y="65742"/>
                  <a:pt x="116714" y="62123"/>
                </a:cubicBezTo>
                <a:cubicBezTo>
                  <a:pt x="121762" y="60408"/>
                  <a:pt x="174721" y="57836"/>
                  <a:pt x="180436" y="58408"/>
                </a:cubicBezTo>
                <a:cubicBezTo>
                  <a:pt x="180436" y="58408"/>
                  <a:pt x="213679" y="48121"/>
                  <a:pt x="233014" y="58979"/>
                </a:cubicBezTo>
                <a:cubicBezTo>
                  <a:pt x="252350" y="69933"/>
                  <a:pt x="348172" y="66599"/>
                  <a:pt x="352744" y="59170"/>
                </a:cubicBezTo>
                <a:cubicBezTo>
                  <a:pt x="362364" y="54407"/>
                  <a:pt x="382557" y="50693"/>
                  <a:pt x="392844" y="49169"/>
                </a:cubicBezTo>
                <a:cubicBezTo>
                  <a:pt x="399035" y="47835"/>
                  <a:pt x="461900" y="49835"/>
                  <a:pt x="471616" y="51836"/>
                </a:cubicBezTo>
                <a:cubicBezTo>
                  <a:pt x="475616" y="50693"/>
                  <a:pt x="482855" y="51169"/>
                  <a:pt x="486665" y="53264"/>
                </a:cubicBezTo>
                <a:lnTo>
                  <a:pt x="501524" y="53836"/>
                </a:lnTo>
                <a:cubicBezTo>
                  <a:pt x="514573" y="56884"/>
                  <a:pt x="526765" y="54693"/>
                  <a:pt x="538386" y="48883"/>
                </a:cubicBezTo>
                <a:cubicBezTo>
                  <a:pt x="553435" y="41263"/>
                  <a:pt x="568675" y="35643"/>
                  <a:pt x="586011" y="40787"/>
                </a:cubicBezTo>
                <a:cubicBezTo>
                  <a:pt x="588583" y="41549"/>
                  <a:pt x="591726" y="40501"/>
                  <a:pt x="594583" y="40120"/>
                </a:cubicBezTo>
                <a:cubicBezTo>
                  <a:pt x="609919" y="37739"/>
                  <a:pt x="625159" y="35262"/>
                  <a:pt x="640494" y="32786"/>
                </a:cubicBezTo>
                <a:cubicBezTo>
                  <a:pt x="642113" y="29928"/>
                  <a:pt x="644685" y="29166"/>
                  <a:pt x="647638" y="29261"/>
                </a:cubicBezTo>
                <a:cubicBezTo>
                  <a:pt x="650209" y="28214"/>
                  <a:pt x="652781" y="26023"/>
                  <a:pt x="655353" y="26213"/>
                </a:cubicBezTo>
                <a:lnTo>
                  <a:pt x="714027" y="26023"/>
                </a:lnTo>
                <a:cubicBezTo>
                  <a:pt x="728410" y="24023"/>
                  <a:pt x="742221" y="19355"/>
                  <a:pt x="757366" y="22022"/>
                </a:cubicBezTo>
                <a:cubicBezTo>
                  <a:pt x="765652" y="23451"/>
                  <a:pt x="774701" y="20403"/>
                  <a:pt x="783369" y="19165"/>
                </a:cubicBezTo>
                <a:cubicBezTo>
                  <a:pt x="796228" y="17355"/>
                  <a:pt x="867379" y="14307"/>
                  <a:pt x="879667" y="15355"/>
                </a:cubicBezTo>
                <a:cubicBezTo>
                  <a:pt x="882524" y="15641"/>
                  <a:pt x="885382" y="16688"/>
                  <a:pt x="888144" y="17450"/>
                </a:cubicBezTo>
                <a:cubicBezTo>
                  <a:pt x="909956" y="12783"/>
                  <a:pt x="931768" y="9735"/>
                  <a:pt x="953485" y="17927"/>
                </a:cubicBezTo>
                <a:cubicBezTo>
                  <a:pt x="967487" y="10402"/>
                  <a:pt x="981489" y="10021"/>
                  <a:pt x="995491" y="17927"/>
                </a:cubicBezTo>
                <a:cubicBezTo>
                  <a:pt x="997586" y="18022"/>
                  <a:pt x="999682" y="18212"/>
                  <a:pt x="1001777" y="18308"/>
                </a:cubicBezTo>
                <a:cubicBezTo>
                  <a:pt x="1004349" y="16879"/>
                  <a:pt x="1006825" y="14498"/>
                  <a:pt x="1009397" y="14307"/>
                </a:cubicBezTo>
                <a:cubicBezTo>
                  <a:pt x="1026923" y="13259"/>
                  <a:pt x="1044544" y="10497"/>
                  <a:pt x="1061404" y="18498"/>
                </a:cubicBezTo>
                <a:cubicBezTo>
                  <a:pt x="1064833" y="20117"/>
                  <a:pt x="1069119" y="19736"/>
                  <a:pt x="1072929" y="20308"/>
                </a:cubicBezTo>
                <a:cubicBezTo>
                  <a:pt x="1086550" y="15450"/>
                  <a:pt x="1100361" y="17831"/>
                  <a:pt x="1114172" y="18974"/>
                </a:cubicBezTo>
                <a:cubicBezTo>
                  <a:pt x="1115029" y="18498"/>
                  <a:pt x="1115791" y="17641"/>
                  <a:pt x="1116649" y="17546"/>
                </a:cubicBezTo>
                <a:cubicBezTo>
                  <a:pt x="1137794" y="14498"/>
                  <a:pt x="1171227" y="19260"/>
                  <a:pt x="1187610" y="27547"/>
                </a:cubicBezTo>
                <a:cubicBezTo>
                  <a:pt x="1193801" y="30690"/>
                  <a:pt x="1194277" y="4401"/>
                  <a:pt x="1197516" y="10688"/>
                </a:cubicBezTo>
                <a:cubicBezTo>
                  <a:pt x="1199326" y="11450"/>
                  <a:pt x="1201231" y="12212"/>
                  <a:pt x="1203040" y="12974"/>
                </a:cubicBezTo>
                <a:cubicBezTo>
                  <a:pt x="1206946" y="13259"/>
                  <a:pt x="1210946" y="13545"/>
                  <a:pt x="1214851" y="13831"/>
                </a:cubicBezTo>
                <a:cubicBezTo>
                  <a:pt x="1216947" y="12021"/>
                  <a:pt x="1219042" y="10116"/>
                  <a:pt x="1221138" y="8306"/>
                </a:cubicBezTo>
                <a:cubicBezTo>
                  <a:pt x="1222757" y="2877"/>
                  <a:pt x="1227329" y="1067"/>
                  <a:pt x="1232187" y="115"/>
                </a:cubicBezTo>
                <a:cubicBezTo>
                  <a:pt x="1235997" y="-647"/>
                  <a:pt x="1268858" y="2591"/>
                  <a:pt x="1281526" y="3639"/>
                </a:cubicBezTo>
                <a:lnTo>
                  <a:pt x="1281526" y="3639"/>
                </a:lnTo>
                <a:cubicBezTo>
                  <a:pt x="1285527" y="115"/>
                  <a:pt x="1320198" y="8021"/>
                  <a:pt x="1332961" y="11354"/>
                </a:cubicBezTo>
                <a:cubicBezTo>
                  <a:pt x="1337533" y="10497"/>
                  <a:pt x="1342201" y="9830"/>
                  <a:pt x="1346773" y="8783"/>
                </a:cubicBezTo>
                <a:cubicBezTo>
                  <a:pt x="1350583" y="7830"/>
                  <a:pt x="1354297" y="7163"/>
                  <a:pt x="1357536" y="9640"/>
                </a:cubicBezTo>
                <a:cubicBezTo>
                  <a:pt x="1364775" y="15260"/>
                  <a:pt x="1373538" y="14593"/>
                  <a:pt x="1381825" y="15926"/>
                </a:cubicBezTo>
                <a:cubicBezTo>
                  <a:pt x="1390397" y="16974"/>
                  <a:pt x="1398874" y="17927"/>
                  <a:pt x="1407447" y="19070"/>
                </a:cubicBezTo>
                <a:cubicBezTo>
                  <a:pt x="1416877" y="20308"/>
                  <a:pt x="1427164" y="19832"/>
                  <a:pt x="1435546" y="23546"/>
                </a:cubicBezTo>
                <a:cubicBezTo>
                  <a:pt x="1443832" y="27261"/>
                  <a:pt x="1450119" y="35357"/>
                  <a:pt x="1457263" y="41453"/>
                </a:cubicBezTo>
                <a:cubicBezTo>
                  <a:pt x="1461454" y="43549"/>
                  <a:pt x="1465645" y="45835"/>
                  <a:pt x="1469931" y="47835"/>
                </a:cubicBezTo>
                <a:cubicBezTo>
                  <a:pt x="1473836" y="49645"/>
                  <a:pt x="1477265" y="48788"/>
                  <a:pt x="1480027" y="45454"/>
                </a:cubicBezTo>
                <a:cubicBezTo>
                  <a:pt x="1482504" y="42215"/>
                  <a:pt x="1485647" y="40691"/>
                  <a:pt x="1489838" y="40787"/>
                </a:cubicBezTo>
                <a:cubicBezTo>
                  <a:pt x="1493553" y="40882"/>
                  <a:pt x="1498982" y="41644"/>
                  <a:pt x="1500887" y="39644"/>
                </a:cubicBezTo>
                <a:cubicBezTo>
                  <a:pt x="1510507" y="29071"/>
                  <a:pt x="1521937" y="32881"/>
                  <a:pt x="1533177" y="34119"/>
                </a:cubicBezTo>
                <a:cubicBezTo>
                  <a:pt x="1535939" y="34405"/>
                  <a:pt x="1538701" y="35548"/>
                  <a:pt x="1541368" y="36310"/>
                </a:cubicBezTo>
                <a:cubicBezTo>
                  <a:pt x="1543845" y="36977"/>
                  <a:pt x="1545274" y="41644"/>
                  <a:pt x="1543273" y="43454"/>
                </a:cubicBezTo>
                <a:cubicBezTo>
                  <a:pt x="1539844" y="46597"/>
                  <a:pt x="1536130" y="49550"/>
                  <a:pt x="1532510" y="52502"/>
                </a:cubicBezTo>
                <a:cubicBezTo>
                  <a:pt x="1534034" y="56503"/>
                  <a:pt x="1535558" y="60503"/>
                  <a:pt x="1537177" y="64599"/>
                </a:cubicBezTo>
                <a:cubicBezTo>
                  <a:pt x="1537177" y="64599"/>
                  <a:pt x="1537558" y="64790"/>
                  <a:pt x="1537558" y="64790"/>
                </a:cubicBezTo>
                <a:cubicBezTo>
                  <a:pt x="1546798" y="60027"/>
                  <a:pt x="1557466" y="63837"/>
                  <a:pt x="1566419" y="61170"/>
                </a:cubicBezTo>
                <a:cubicBezTo>
                  <a:pt x="1579183" y="57360"/>
                  <a:pt x="1599185" y="35167"/>
                  <a:pt x="1609948" y="40596"/>
                </a:cubicBezTo>
                <a:cubicBezTo>
                  <a:pt x="1612520" y="41930"/>
                  <a:pt x="1615663" y="42120"/>
                  <a:pt x="1618521" y="42882"/>
                </a:cubicBezTo>
                <a:cubicBezTo>
                  <a:pt x="1626522" y="43263"/>
                  <a:pt x="1634047" y="42501"/>
                  <a:pt x="1640809" y="37548"/>
                </a:cubicBezTo>
                <a:cubicBezTo>
                  <a:pt x="1646810" y="33167"/>
                  <a:pt x="1653859" y="33357"/>
                  <a:pt x="1660431" y="36024"/>
                </a:cubicBezTo>
                <a:cubicBezTo>
                  <a:pt x="1662812" y="36977"/>
                  <a:pt x="1664241" y="40025"/>
                  <a:pt x="1666146" y="42120"/>
                </a:cubicBezTo>
                <a:cubicBezTo>
                  <a:pt x="1670908" y="45263"/>
                  <a:pt x="1675576" y="48502"/>
                  <a:pt x="1680433" y="51455"/>
                </a:cubicBezTo>
                <a:cubicBezTo>
                  <a:pt x="1687958" y="55931"/>
                  <a:pt x="1696150" y="58789"/>
                  <a:pt x="1704913" y="55741"/>
                </a:cubicBezTo>
                <a:cubicBezTo>
                  <a:pt x="1712342" y="53169"/>
                  <a:pt x="1717676" y="57455"/>
                  <a:pt x="1723677" y="59932"/>
                </a:cubicBezTo>
                <a:cubicBezTo>
                  <a:pt x="1727487" y="56503"/>
                  <a:pt x="1732059" y="56217"/>
                  <a:pt x="1736917" y="56979"/>
                </a:cubicBezTo>
                <a:cubicBezTo>
                  <a:pt x="1742536" y="57741"/>
                  <a:pt x="1748156" y="58313"/>
                  <a:pt x="1753776" y="58979"/>
                </a:cubicBezTo>
                <a:cubicBezTo>
                  <a:pt x="1761872" y="49740"/>
                  <a:pt x="1761682" y="50026"/>
                  <a:pt x="1769683" y="52788"/>
                </a:cubicBezTo>
                <a:cubicBezTo>
                  <a:pt x="1778065" y="55741"/>
                  <a:pt x="1787780" y="58027"/>
                  <a:pt x="1790161" y="68028"/>
                </a:cubicBezTo>
                <a:lnTo>
                  <a:pt x="1799972" y="83840"/>
                </a:lnTo>
                <a:cubicBezTo>
                  <a:pt x="1814641" y="90126"/>
                  <a:pt x="1821213" y="87745"/>
                  <a:pt x="1822546" y="84602"/>
                </a:cubicBezTo>
                <a:cubicBezTo>
                  <a:pt x="1825213" y="81458"/>
                  <a:pt x="1828357" y="79553"/>
                  <a:pt x="1832643" y="80030"/>
                </a:cubicBezTo>
                <a:cubicBezTo>
                  <a:pt x="1841406" y="81077"/>
                  <a:pt x="1850074" y="82125"/>
                  <a:pt x="1858837" y="83173"/>
                </a:cubicBezTo>
                <a:cubicBezTo>
                  <a:pt x="1860742" y="83459"/>
                  <a:pt x="1862551" y="83649"/>
                  <a:pt x="1864456" y="83744"/>
                </a:cubicBezTo>
                <a:cubicBezTo>
                  <a:pt x="1865123" y="83078"/>
                  <a:pt x="1865599" y="82125"/>
                  <a:pt x="1866361" y="81649"/>
                </a:cubicBezTo>
                <a:cubicBezTo>
                  <a:pt x="1875696" y="76696"/>
                  <a:pt x="1911796" y="90983"/>
                  <a:pt x="1920273" y="95841"/>
                </a:cubicBezTo>
                <a:lnTo>
                  <a:pt x="1930655" y="101937"/>
                </a:lnTo>
                <a:cubicBezTo>
                  <a:pt x="1935799" y="104890"/>
                  <a:pt x="1968184" y="138132"/>
                  <a:pt x="1972279" y="132798"/>
                </a:cubicBezTo>
                <a:cubicBezTo>
                  <a:pt x="1973232" y="127940"/>
                  <a:pt x="1974470" y="122987"/>
                  <a:pt x="1980280" y="122416"/>
                </a:cubicBezTo>
                <a:cubicBezTo>
                  <a:pt x="1985900" y="121749"/>
                  <a:pt x="2013142" y="131369"/>
                  <a:pt x="2017142" y="135751"/>
                </a:cubicBezTo>
                <a:cubicBezTo>
                  <a:pt x="2018761" y="137465"/>
                  <a:pt x="2018190" y="141275"/>
                  <a:pt x="2018571" y="144038"/>
                </a:cubicBezTo>
                <a:cubicBezTo>
                  <a:pt x="2020476" y="144323"/>
                  <a:pt x="2022476" y="144609"/>
                  <a:pt x="2024381" y="144800"/>
                </a:cubicBezTo>
                <a:cubicBezTo>
                  <a:pt x="2031525" y="143180"/>
                  <a:pt x="2036002" y="137942"/>
                  <a:pt x="2040955" y="133846"/>
                </a:cubicBezTo>
                <a:cubicBezTo>
                  <a:pt x="2039431" y="130322"/>
                  <a:pt x="2038288" y="127845"/>
                  <a:pt x="2036859" y="124702"/>
                </a:cubicBezTo>
                <a:cubicBezTo>
                  <a:pt x="2051813" y="119558"/>
                  <a:pt x="2066672" y="117749"/>
                  <a:pt x="2081912" y="122702"/>
                </a:cubicBezTo>
                <a:cubicBezTo>
                  <a:pt x="2083341" y="126035"/>
                  <a:pt x="2082007" y="128988"/>
                  <a:pt x="2079150" y="129750"/>
                </a:cubicBezTo>
                <a:cubicBezTo>
                  <a:pt x="2075626" y="130607"/>
                  <a:pt x="2071244" y="128893"/>
                  <a:pt x="2068101" y="130226"/>
                </a:cubicBezTo>
                <a:cubicBezTo>
                  <a:pt x="2062862" y="132322"/>
                  <a:pt x="2058290" y="136037"/>
                  <a:pt x="2053528" y="138989"/>
                </a:cubicBezTo>
                <a:cubicBezTo>
                  <a:pt x="2054575" y="143180"/>
                  <a:pt x="2057814" y="142323"/>
                  <a:pt x="2060195" y="143276"/>
                </a:cubicBezTo>
                <a:cubicBezTo>
                  <a:pt x="2068768" y="146609"/>
                  <a:pt x="2077435" y="141180"/>
                  <a:pt x="2086389" y="144228"/>
                </a:cubicBezTo>
                <a:cubicBezTo>
                  <a:pt x="2094676" y="147086"/>
                  <a:pt x="2103629" y="147943"/>
                  <a:pt x="2112297" y="149467"/>
                </a:cubicBezTo>
                <a:cubicBezTo>
                  <a:pt x="2120203" y="150896"/>
                  <a:pt x="2127346" y="153372"/>
                  <a:pt x="2131347" y="161183"/>
                </a:cubicBezTo>
                <a:cubicBezTo>
                  <a:pt x="2126680" y="164421"/>
                  <a:pt x="2121822" y="162611"/>
                  <a:pt x="2117345" y="161945"/>
                </a:cubicBezTo>
                <a:cubicBezTo>
                  <a:pt x="2102772" y="159659"/>
                  <a:pt x="2087818" y="160230"/>
                  <a:pt x="2073625" y="155087"/>
                </a:cubicBezTo>
                <a:cubicBezTo>
                  <a:pt x="2068006" y="153086"/>
                  <a:pt x="2067910" y="153372"/>
                  <a:pt x="2064291" y="161468"/>
                </a:cubicBezTo>
                <a:cubicBezTo>
                  <a:pt x="2066767" y="162230"/>
                  <a:pt x="2069815" y="162230"/>
                  <a:pt x="2070673" y="165755"/>
                </a:cubicBezTo>
                <a:cubicBezTo>
                  <a:pt x="2070577" y="167755"/>
                  <a:pt x="2069244" y="168231"/>
                  <a:pt x="2066672" y="167850"/>
                </a:cubicBezTo>
                <a:cubicBezTo>
                  <a:pt x="2056290" y="166421"/>
                  <a:pt x="2050480" y="178423"/>
                  <a:pt x="2041526" y="174041"/>
                </a:cubicBezTo>
                <a:cubicBezTo>
                  <a:pt x="2032477" y="169660"/>
                  <a:pt x="2028191" y="173660"/>
                  <a:pt x="2019904" y="172517"/>
                </a:cubicBezTo>
                <a:cubicBezTo>
                  <a:pt x="2018761" y="173851"/>
                  <a:pt x="2013904" y="173851"/>
                  <a:pt x="2007903" y="173565"/>
                </a:cubicBezTo>
                <a:cubicBezTo>
                  <a:pt x="2009617" y="175946"/>
                  <a:pt x="2010760" y="179185"/>
                  <a:pt x="2010189" y="180995"/>
                </a:cubicBezTo>
                <a:cubicBezTo>
                  <a:pt x="2009236" y="183471"/>
                  <a:pt x="2007903" y="186805"/>
                  <a:pt x="2006188" y="187186"/>
                </a:cubicBezTo>
                <a:cubicBezTo>
                  <a:pt x="2003140" y="187853"/>
                  <a:pt x="1999807" y="188519"/>
                  <a:pt x="1996568" y="188329"/>
                </a:cubicBezTo>
                <a:cubicBezTo>
                  <a:pt x="2000378" y="189662"/>
                  <a:pt x="2003998" y="190329"/>
                  <a:pt x="2012284" y="191472"/>
                </a:cubicBezTo>
                <a:cubicBezTo>
                  <a:pt x="2014380" y="191567"/>
                  <a:pt x="2016475" y="191758"/>
                  <a:pt x="2018571" y="191853"/>
                </a:cubicBezTo>
                <a:cubicBezTo>
                  <a:pt x="2020571" y="192044"/>
                  <a:pt x="2022571" y="192329"/>
                  <a:pt x="2024572" y="192520"/>
                </a:cubicBezTo>
                <a:cubicBezTo>
                  <a:pt x="2032287" y="193472"/>
                  <a:pt x="2040002" y="194330"/>
                  <a:pt x="2047717" y="195187"/>
                </a:cubicBezTo>
                <a:cubicBezTo>
                  <a:pt x="2052766" y="195758"/>
                  <a:pt x="2061814" y="197473"/>
                  <a:pt x="2064196" y="202426"/>
                </a:cubicBezTo>
                <a:lnTo>
                  <a:pt x="2066482" y="203759"/>
                </a:lnTo>
                <a:cubicBezTo>
                  <a:pt x="2077912" y="205188"/>
                  <a:pt x="2088008" y="205188"/>
                  <a:pt x="2098486" y="211951"/>
                </a:cubicBezTo>
                <a:cubicBezTo>
                  <a:pt x="2103820" y="215380"/>
                  <a:pt x="2111440" y="215380"/>
                  <a:pt x="2117821" y="217380"/>
                </a:cubicBezTo>
                <a:cubicBezTo>
                  <a:pt x="2119060" y="217761"/>
                  <a:pt x="2119631" y="220428"/>
                  <a:pt x="2120203" y="222143"/>
                </a:cubicBezTo>
                <a:cubicBezTo>
                  <a:pt x="2120203" y="222428"/>
                  <a:pt x="2118679" y="223762"/>
                  <a:pt x="2118107" y="223667"/>
                </a:cubicBezTo>
                <a:cubicBezTo>
                  <a:pt x="2103915" y="221476"/>
                  <a:pt x="2090294" y="219095"/>
                  <a:pt x="2076102" y="216713"/>
                </a:cubicBezTo>
                <a:lnTo>
                  <a:pt x="2075435" y="216713"/>
                </a:lnTo>
                <a:cubicBezTo>
                  <a:pt x="2083055" y="225667"/>
                  <a:pt x="2093628" y="229286"/>
                  <a:pt x="2104486" y="231858"/>
                </a:cubicBezTo>
                <a:cubicBezTo>
                  <a:pt x="2111821" y="233573"/>
                  <a:pt x="2122965" y="237383"/>
                  <a:pt x="2129537" y="243479"/>
                </a:cubicBezTo>
                <a:cubicBezTo>
                  <a:pt x="2129537" y="243479"/>
                  <a:pt x="2136490" y="245288"/>
                  <a:pt x="2134776" y="246717"/>
                </a:cubicBezTo>
                <a:cubicBezTo>
                  <a:pt x="2133061" y="248146"/>
                  <a:pt x="2123060" y="248717"/>
                  <a:pt x="2123060" y="248717"/>
                </a:cubicBezTo>
                <a:cubicBezTo>
                  <a:pt x="2108773" y="249384"/>
                  <a:pt x="2101153" y="245193"/>
                  <a:pt x="2088865" y="240240"/>
                </a:cubicBezTo>
                <a:cubicBezTo>
                  <a:pt x="2075816" y="234906"/>
                  <a:pt x="2065910" y="233668"/>
                  <a:pt x="2052385" y="231953"/>
                </a:cubicBezTo>
                <a:cubicBezTo>
                  <a:pt x="2045622" y="231096"/>
                  <a:pt x="2038764" y="230144"/>
                  <a:pt x="2032001" y="229286"/>
                </a:cubicBezTo>
                <a:cubicBezTo>
                  <a:pt x="2025048" y="229382"/>
                  <a:pt x="2020571" y="224333"/>
                  <a:pt x="2015047" y="221381"/>
                </a:cubicBezTo>
                <a:lnTo>
                  <a:pt x="2007903" y="223571"/>
                </a:lnTo>
                <a:cubicBezTo>
                  <a:pt x="2001521" y="219190"/>
                  <a:pt x="1986091" y="222238"/>
                  <a:pt x="1977994" y="221095"/>
                </a:cubicBezTo>
                <a:lnTo>
                  <a:pt x="1977994" y="221095"/>
                </a:lnTo>
                <a:cubicBezTo>
                  <a:pt x="1975518" y="222238"/>
                  <a:pt x="1972756" y="223095"/>
                  <a:pt x="1970565" y="224714"/>
                </a:cubicBezTo>
                <a:lnTo>
                  <a:pt x="1979328" y="234335"/>
                </a:lnTo>
                <a:cubicBezTo>
                  <a:pt x="1981614" y="242050"/>
                  <a:pt x="1995520" y="241478"/>
                  <a:pt x="2006665" y="248432"/>
                </a:cubicBezTo>
                <a:lnTo>
                  <a:pt x="2017142" y="249575"/>
                </a:lnTo>
                <a:lnTo>
                  <a:pt x="2021238" y="257290"/>
                </a:lnTo>
                <a:cubicBezTo>
                  <a:pt x="2024857" y="257766"/>
                  <a:pt x="2032668" y="259576"/>
                  <a:pt x="2036287" y="260052"/>
                </a:cubicBezTo>
                <a:cubicBezTo>
                  <a:pt x="2044384" y="252146"/>
                  <a:pt x="2048670" y="278531"/>
                  <a:pt x="2055623" y="284341"/>
                </a:cubicBezTo>
                <a:cubicBezTo>
                  <a:pt x="2061433" y="289199"/>
                  <a:pt x="2068101" y="292818"/>
                  <a:pt x="2075721" y="291008"/>
                </a:cubicBezTo>
                <a:cubicBezTo>
                  <a:pt x="2083912" y="289103"/>
                  <a:pt x="2085151" y="317583"/>
                  <a:pt x="2092580" y="318440"/>
                </a:cubicBezTo>
                <a:cubicBezTo>
                  <a:pt x="2099438" y="319202"/>
                  <a:pt x="2105629" y="319012"/>
                  <a:pt x="2110773" y="324727"/>
                </a:cubicBezTo>
                <a:cubicBezTo>
                  <a:pt x="2113154" y="327299"/>
                  <a:pt x="2117536" y="328632"/>
                  <a:pt x="2121250" y="329299"/>
                </a:cubicBezTo>
                <a:cubicBezTo>
                  <a:pt x="2130871" y="331109"/>
                  <a:pt x="2140872" y="331490"/>
                  <a:pt x="2150302" y="333871"/>
                </a:cubicBezTo>
                <a:cubicBezTo>
                  <a:pt x="2158684" y="335966"/>
                  <a:pt x="2167161" y="342253"/>
                  <a:pt x="2171447" y="351397"/>
                </a:cubicBezTo>
                <a:lnTo>
                  <a:pt x="2168113" y="353207"/>
                </a:lnTo>
                <a:cubicBezTo>
                  <a:pt x="2157160" y="358350"/>
                  <a:pt x="2146111" y="356636"/>
                  <a:pt x="2133823" y="354445"/>
                </a:cubicBezTo>
                <a:cubicBezTo>
                  <a:pt x="2130490" y="353873"/>
                  <a:pt x="2127727" y="350444"/>
                  <a:pt x="2124775" y="348254"/>
                </a:cubicBezTo>
                <a:cubicBezTo>
                  <a:pt x="2122012" y="349206"/>
                  <a:pt x="2119345" y="350349"/>
                  <a:pt x="2116583" y="351016"/>
                </a:cubicBezTo>
                <a:cubicBezTo>
                  <a:pt x="2112202" y="352159"/>
                  <a:pt x="2109249" y="350254"/>
                  <a:pt x="2107534" y="346158"/>
                </a:cubicBezTo>
                <a:cubicBezTo>
                  <a:pt x="2103248" y="343967"/>
                  <a:pt x="2101915" y="344825"/>
                  <a:pt x="2097533" y="344539"/>
                </a:cubicBezTo>
                <a:cubicBezTo>
                  <a:pt x="2092294" y="344158"/>
                  <a:pt x="2090199" y="344158"/>
                  <a:pt x="2086579" y="339681"/>
                </a:cubicBezTo>
                <a:cubicBezTo>
                  <a:pt x="2078102" y="329204"/>
                  <a:pt x="2074102" y="325584"/>
                  <a:pt x="2060671" y="327870"/>
                </a:cubicBezTo>
                <a:cubicBezTo>
                  <a:pt x="2061433" y="330728"/>
                  <a:pt x="2062100" y="333395"/>
                  <a:pt x="2062862" y="336157"/>
                </a:cubicBezTo>
                <a:cubicBezTo>
                  <a:pt x="2056290" y="339872"/>
                  <a:pt x="2049908" y="335776"/>
                  <a:pt x="2043431" y="335966"/>
                </a:cubicBezTo>
                <a:cubicBezTo>
                  <a:pt x="2038954" y="335681"/>
                  <a:pt x="2034478" y="335490"/>
                  <a:pt x="2030001" y="335204"/>
                </a:cubicBezTo>
                <a:cubicBezTo>
                  <a:pt x="2025619" y="348730"/>
                  <a:pt x="2039240" y="340157"/>
                  <a:pt x="2045241" y="348920"/>
                </a:cubicBezTo>
                <a:cubicBezTo>
                  <a:pt x="2050861" y="351683"/>
                  <a:pt x="2052289" y="355969"/>
                  <a:pt x="2057814" y="358636"/>
                </a:cubicBezTo>
                <a:cubicBezTo>
                  <a:pt x="2062481" y="359493"/>
                  <a:pt x="2067625" y="360541"/>
                  <a:pt x="2071149" y="363017"/>
                </a:cubicBezTo>
                <a:cubicBezTo>
                  <a:pt x="2079531" y="368828"/>
                  <a:pt x="2077150" y="362541"/>
                  <a:pt x="2086484" y="363779"/>
                </a:cubicBezTo>
                <a:lnTo>
                  <a:pt x="2091818" y="365875"/>
                </a:lnTo>
                <a:cubicBezTo>
                  <a:pt x="2095723" y="366351"/>
                  <a:pt x="2106106" y="369685"/>
                  <a:pt x="2110011" y="370161"/>
                </a:cubicBezTo>
                <a:cubicBezTo>
                  <a:pt x="2122774" y="369399"/>
                  <a:pt x="2118964" y="373400"/>
                  <a:pt x="2130680" y="376257"/>
                </a:cubicBezTo>
                <a:cubicBezTo>
                  <a:pt x="2142301" y="377781"/>
                  <a:pt x="2141920" y="381305"/>
                  <a:pt x="2152873" y="387211"/>
                </a:cubicBezTo>
                <a:lnTo>
                  <a:pt x="2174305" y="400451"/>
                </a:lnTo>
                <a:cubicBezTo>
                  <a:pt x="2174305" y="400451"/>
                  <a:pt x="2169352" y="401689"/>
                  <a:pt x="2162494" y="403213"/>
                </a:cubicBezTo>
                <a:cubicBezTo>
                  <a:pt x="2157350" y="404356"/>
                  <a:pt x="2150873" y="397307"/>
                  <a:pt x="2144872" y="398450"/>
                </a:cubicBezTo>
                <a:cubicBezTo>
                  <a:pt x="2137348" y="399879"/>
                  <a:pt x="2130299" y="400832"/>
                  <a:pt x="2126584" y="400641"/>
                </a:cubicBezTo>
                <a:cubicBezTo>
                  <a:pt x="2127918" y="404546"/>
                  <a:pt x="2130775" y="406737"/>
                  <a:pt x="2134681" y="407594"/>
                </a:cubicBezTo>
                <a:cubicBezTo>
                  <a:pt x="2138586" y="408452"/>
                  <a:pt x="2143920" y="409118"/>
                  <a:pt x="2145253" y="413024"/>
                </a:cubicBezTo>
                <a:cubicBezTo>
                  <a:pt x="2149159" y="413500"/>
                  <a:pt x="2150111" y="417405"/>
                  <a:pt x="2154112" y="417881"/>
                </a:cubicBezTo>
                <a:lnTo>
                  <a:pt x="2163065" y="418453"/>
                </a:lnTo>
                <a:cubicBezTo>
                  <a:pt x="2171352" y="419310"/>
                  <a:pt x="2175162" y="424454"/>
                  <a:pt x="2181448" y="428930"/>
                </a:cubicBezTo>
                <a:cubicBezTo>
                  <a:pt x="2187830" y="433502"/>
                  <a:pt x="2196307" y="439027"/>
                  <a:pt x="2208309" y="442170"/>
                </a:cubicBezTo>
                <a:cubicBezTo>
                  <a:pt x="2194593" y="443123"/>
                  <a:pt x="2189830" y="442932"/>
                  <a:pt x="2182020" y="441789"/>
                </a:cubicBezTo>
                <a:lnTo>
                  <a:pt x="2168304" y="438836"/>
                </a:lnTo>
                <a:lnTo>
                  <a:pt x="2156017" y="433407"/>
                </a:lnTo>
                <a:cubicBezTo>
                  <a:pt x="2146492" y="429216"/>
                  <a:pt x="2136776" y="427216"/>
                  <a:pt x="2126108" y="425501"/>
                </a:cubicBezTo>
                <a:cubicBezTo>
                  <a:pt x="2119441" y="424644"/>
                  <a:pt x="2108487" y="429311"/>
                  <a:pt x="2108487" y="429311"/>
                </a:cubicBezTo>
                <a:close/>
                <a:moveTo>
                  <a:pt x="2052670" y="493034"/>
                </a:moveTo>
                <a:cubicBezTo>
                  <a:pt x="2065339" y="494177"/>
                  <a:pt x="2081722" y="492748"/>
                  <a:pt x="2084865" y="496558"/>
                </a:cubicBezTo>
                <a:cubicBezTo>
                  <a:pt x="2070482" y="499796"/>
                  <a:pt x="2055433" y="508274"/>
                  <a:pt x="2042669" y="505607"/>
                </a:cubicBezTo>
                <a:cubicBezTo>
                  <a:pt x="2030191" y="503035"/>
                  <a:pt x="2030953" y="506083"/>
                  <a:pt x="2019047" y="501701"/>
                </a:cubicBezTo>
                <a:cubicBezTo>
                  <a:pt x="2012094" y="499130"/>
                  <a:pt x="2011237" y="500939"/>
                  <a:pt x="2004379" y="503702"/>
                </a:cubicBezTo>
                <a:lnTo>
                  <a:pt x="1979518" y="505416"/>
                </a:lnTo>
                <a:cubicBezTo>
                  <a:pt x="1974756" y="507416"/>
                  <a:pt x="1969898" y="508083"/>
                  <a:pt x="1965517" y="505702"/>
                </a:cubicBezTo>
                <a:cubicBezTo>
                  <a:pt x="1958278" y="501797"/>
                  <a:pt x="1950372" y="502749"/>
                  <a:pt x="1942752" y="502082"/>
                </a:cubicBezTo>
                <a:cubicBezTo>
                  <a:pt x="1939609" y="501797"/>
                  <a:pt x="1937513" y="500368"/>
                  <a:pt x="1936656" y="497320"/>
                </a:cubicBezTo>
                <a:cubicBezTo>
                  <a:pt x="1935989" y="495034"/>
                  <a:pt x="1938656" y="491605"/>
                  <a:pt x="1941514" y="491414"/>
                </a:cubicBezTo>
                <a:cubicBezTo>
                  <a:pt x="1956944" y="490176"/>
                  <a:pt x="1958468" y="484175"/>
                  <a:pt x="1973327" y="491033"/>
                </a:cubicBezTo>
                <a:lnTo>
                  <a:pt x="1982090" y="493510"/>
                </a:lnTo>
                <a:cubicBezTo>
                  <a:pt x="1986091" y="493319"/>
                  <a:pt x="1990091" y="492272"/>
                  <a:pt x="1994092" y="491986"/>
                </a:cubicBezTo>
                <a:cubicBezTo>
                  <a:pt x="2010665" y="492272"/>
                  <a:pt x="2016761" y="488271"/>
                  <a:pt x="2025619" y="488271"/>
                </a:cubicBezTo>
                <a:cubicBezTo>
                  <a:pt x="2029810" y="488271"/>
                  <a:pt x="2039431" y="491986"/>
                  <a:pt x="2052766" y="493129"/>
                </a:cubicBezTo>
                <a:close/>
                <a:moveTo>
                  <a:pt x="1926178" y="473222"/>
                </a:moveTo>
                <a:cubicBezTo>
                  <a:pt x="1928845" y="468173"/>
                  <a:pt x="1933132" y="467792"/>
                  <a:pt x="1936751" y="466649"/>
                </a:cubicBezTo>
                <a:cubicBezTo>
                  <a:pt x="1943228" y="464649"/>
                  <a:pt x="1944371" y="465697"/>
                  <a:pt x="1948086" y="475508"/>
                </a:cubicBezTo>
                <a:cubicBezTo>
                  <a:pt x="1940466" y="477508"/>
                  <a:pt x="1933322" y="476555"/>
                  <a:pt x="1926274" y="473126"/>
                </a:cubicBezTo>
                <a:close/>
                <a:moveTo>
                  <a:pt x="1973422" y="484461"/>
                </a:moveTo>
                <a:cubicBezTo>
                  <a:pt x="1961611" y="485223"/>
                  <a:pt x="1956277" y="478365"/>
                  <a:pt x="1956754" y="476651"/>
                </a:cubicBezTo>
                <a:cubicBezTo>
                  <a:pt x="1957420" y="474079"/>
                  <a:pt x="1970184" y="471793"/>
                  <a:pt x="1977804" y="474460"/>
                </a:cubicBezTo>
                <a:cubicBezTo>
                  <a:pt x="1991615" y="479318"/>
                  <a:pt x="2006665" y="477413"/>
                  <a:pt x="2021905" y="479413"/>
                </a:cubicBezTo>
                <a:cubicBezTo>
                  <a:pt x="2006188" y="484271"/>
                  <a:pt x="1989520" y="483128"/>
                  <a:pt x="1973422" y="484461"/>
                </a:cubicBezTo>
                <a:close/>
                <a:moveTo>
                  <a:pt x="2091818" y="473984"/>
                </a:moveTo>
                <a:cubicBezTo>
                  <a:pt x="2086960" y="477032"/>
                  <a:pt x="2083055" y="475031"/>
                  <a:pt x="2079436" y="474174"/>
                </a:cubicBezTo>
                <a:cubicBezTo>
                  <a:pt x="2072863" y="472650"/>
                  <a:pt x="2072482" y="471126"/>
                  <a:pt x="2074292" y="460744"/>
                </a:cubicBezTo>
                <a:cubicBezTo>
                  <a:pt x="2081817" y="462935"/>
                  <a:pt x="2087437" y="467316"/>
                  <a:pt x="2091818" y="473984"/>
                </a:cubicBezTo>
                <a:close/>
              </a:path>
            </a:pathLst>
          </a:custGeom>
          <a:solidFill>
            <a:schemeClr val="accent1">
              <a:lumMod val="40000"/>
              <a:lumOff val="60000"/>
              <a:alpha val="40000"/>
            </a:schemeClr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pPr defTabSz="128590">
              <a:defRPr/>
            </a:pPr>
            <a:endParaRPr lang="nb-NO" sz="1050" noProof="0">
              <a:solidFill>
                <a:prstClr val="black"/>
              </a:solidFill>
              <a:latin typeface="Innovation Norway"/>
            </a:endParaRPr>
          </a:p>
        </p:txBody>
      </p:sp>
      <p:sp>
        <p:nvSpPr>
          <p:cNvPr id="27" name="Rectangle 20">
            <a:extLst>
              <a:ext uri="{FF2B5EF4-FFF2-40B4-BE49-F238E27FC236}">
                <a16:creationId xmlns:a16="http://schemas.microsoft.com/office/drawing/2014/main" id="{B25F1246-6DA7-5AC7-D73C-C7E9D446BC3B}"/>
              </a:ext>
            </a:extLst>
          </p:cNvPr>
          <p:cNvSpPr/>
          <p:nvPr/>
        </p:nvSpPr>
        <p:spPr>
          <a:xfrm>
            <a:off x="320498" y="1203519"/>
            <a:ext cx="3254317" cy="47920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0500" tIns="0" rIns="0" bIns="0" rtlCol="0" anchor="t">
            <a:noAutofit/>
          </a:bodyPr>
          <a:lstStyle/>
          <a:p>
            <a:pPr defTabSz="128590">
              <a:defRPr/>
            </a:pPr>
            <a:r>
              <a:rPr lang="nb-NO" sz="1800" b="1" noProof="0">
                <a:solidFill>
                  <a:prstClr val="black"/>
                </a:solidFill>
                <a:ea typeface="+mn-lt"/>
                <a:cs typeface="+mn-lt"/>
              </a:rPr>
              <a:t>Danske utenlandsferier...</a:t>
            </a:r>
            <a:endParaRPr lang="nb-NO" noProof="0">
              <a:solidFill>
                <a:prstClr val="black"/>
              </a:solidFill>
            </a:endParaRPr>
          </a:p>
        </p:txBody>
      </p:sp>
      <p:sp>
        <p:nvSpPr>
          <p:cNvPr id="28" name="Rectangle 10">
            <a:extLst>
              <a:ext uri="{FF2B5EF4-FFF2-40B4-BE49-F238E27FC236}">
                <a16:creationId xmlns:a16="http://schemas.microsoft.com/office/drawing/2014/main" id="{C7EF433E-A153-8582-B825-F9608B757F24}"/>
              </a:ext>
            </a:extLst>
          </p:cNvPr>
          <p:cNvSpPr/>
          <p:nvPr/>
        </p:nvSpPr>
        <p:spPr>
          <a:xfrm>
            <a:off x="287338" y="1559109"/>
            <a:ext cx="3636962" cy="11079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228600" rtl="0" eaLnBrk="1" latinLnBrk="0" hangingPunct="1">
              <a:defRPr sz="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228600" algn="l" defTabSz="228600" rtl="0" eaLnBrk="1" latinLnBrk="0" hangingPunct="1">
              <a:defRPr sz="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457200" algn="l" defTabSz="228600" rtl="0" eaLnBrk="1" latinLnBrk="0" hangingPunct="1">
              <a:defRPr sz="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685800" algn="l" defTabSz="228600" rtl="0" eaLnBrk="1" latinLnBrk="0" hangingPunct="1">
              <a:defRPr sz="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914400" algn="l" defTabSz="228600" rtl="0" eaLnBrk="1" latinLnBrk="0" hangingPunct="1">
              <a:defRPr sz="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143000" algn="l" defTabSz="228600" rtl="0" eaLnBrk="1" latinLnBrk="0" hangingPunct="1">
              <a:defRPr sz="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1371600" algn="l" defTabSz="228600" rtl="0" eaLnBrk="1" latinLnBrk="0" hangingPunct="1">
              <a:defRPr sz="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1600200" algn="l" defTabSz="228600" rtl="0" eaLnBrk="1" latinLnBrk="0" hangingPunct="1">
              <a:defRPr sz="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1828800" algn="l" defTabSz="228600" rtl="0" eaLnBrk="1" latinLnBrk="0" hangingPunct="1">
              <a:defRPr sz="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128590">
              <a:lnSpc>
                <a:spcPct val="110000"/>
              </a:lnSpc>
              <a:spcAft>
                <a:spcPts val="338"/>
              </a:spcAft>
              <a:defRPr/>
            </a:pPr>
            <a:r>
              <a:rPr lang="nb-NO" sz="1050" noProof="0">
                <a:solidFill>
                  <a:prstClr val="black"/>
                </a:solidFill>
                <a:latin typeface="Innovation Norway"/>
              </a:rPr>
              <a:t>...</a:t>
            </a:r>
            <a:r>
              <a:rPr lang="nb-NO" sz="1100" noProof="0">
                <a:solidFill>
                  <a:prstClr val="black"/>
                </a:solidFill>
                <a:ea typeface="+mn-lt"/>
                <a:cs typeface="+mn-lt"/>
              </a:rPr>
              <a:t>har mer fokus på å </a:t>
            </a:r>
            <a:r>
              <a:rPr lang="nb-NO" sz="1100">
                <a:solidFill>
                  <a:prstClr val="black"/>
                </a:solidFill>
                <a:ea typeface="+mn-lt"/>
                <a:cs typeface="+mn-lt"/>
              </a:rPr>
              <a:t>ta livet med ro, oppleve samhørighet og ta vare på seg selv. Danskene er åpne og nysgjerrige, de reise ri større grad på by-, ski- , natur- og vandreferier. De er mer eventyrlystne og vil gjerne nyte luksus i ferien. De vil gjerne oppleve lokal kultur, livsstil, mat og drikke i en hyggelig atmosfære. Det bør være lett å reise til.</a:t>
            </a:r>
            <a:endParaRPr lang="nb-NO" sz="1100" noProof="0">
              <a:solidFill>
                <a:prstClr val="black"/>
              </a:solidFill>
              <a:latin typeface="Innovation Norway"/>
            </a:endParaRPr>
          </a:p>
        </p:txBody>
      </p:sp>
      <p:pic>
        <p:nvPicPr>
          <p:cNvPr id="39" name="Picture 2">
            <a:extLst>
              <a:ext uri="{FF2B5EF4-FFF2-40B4-BE49-F238E27FC236}">
                <a16:creationId xmlns:a16="http://schemas.microsoft.com/office/drawing/2014/main" id="{0D2E9616-9100-5C31-89FE-333BD59BA95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4855722" y="-180626"/>
            <a:ext cx="2682457" cy="20118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2" name="Rectangle 20">
            <a:extLst>
              <a:ext uri="{FF2B5EF4-FFF2-40B4-BE49-F238E27FC236}">
                <a16:creationId xmlns:a16="http://schemas.microsoft.com/office/drawing/2014/main" id="{1F21A713-81D8-913A-CD6F-1F2618829E96}"/>
              </a:ext>
            </a:extLst>
          </p:cNvPr>
          <p:cNvSpPr/>
          <p:nvPr/>
        </p:nvSpPr>
        <p:spPr>
          <a:xfrm>
            <a:off x="320498" y="2782513"/>
            <a:ext cx="3254317" cy="22689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0500" tIns="0" rIns="0" bIns="0" rtlCol="0" anchor="t">
            <a:noAutofit/>
          </a:bodyPr>
          <a:lstStyle/>
          <a:p>
            <a:pPr defTabSz="128590">
              <a:defRPr/>
            </a:pPr>
            <a:r>
              <a:rPr lang="nb-NO" sz="1600" b="1" noProof="0">
                <a:solidFill>
                  <a:prstClr val="black"/>
                </a:solidFill>
                <a:latin typeface="Innovation Norway" panose="020B0500030000000000"/>
              </a:rPr>
              <a:t>Segmentenes betydning i Danmark</a:t>
            </a:r>
          </a:p>
        </p:txBody>
      </p:sp>
      <p:sp>
        <p:nvSpPr>
          <p:cNvPr id="43" name="Rectangle 10">
            <a:extLst>
              <a:ext uri="{FF2B5EF4-FFF2-40B4-BE49-F238E27FC236}">
                <a16:creationId xmlns:a16="http://schemas.microsoft.com/office/drawing/2014/main" id="{F8C572F0-7F7C-225B-5AC8-6969614ADACC}"/>
              </a:ext>
            </a:extLst>
          </p:cNvPr>
          <p:cNvSpPr/>
          <p:nvPr/>
        </p:nvSpPr>
        <p:spPr>
          <a:xfrm>
            <a:off x="1225550" y="3157749"/>
            <a:ext cx="2710132" cy="217707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228600" rtl="0" eaLnBrk="1" latinLnBrk="0" hangingPunct="1">
              <a:defRPr sz="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228600" algn="l" defTabSz="228600" rtl="0" eaLnBrk="1" latinLnBrk="0" hangingPunct="1">
              <a:defRPr sz="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457200" algn="l" defTabSz="228600" rtl="0" eaLnBrk="1" latinLnBrk="0" hangingPunct="1">
              <a:defRPr sz="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685800" algn="l" defTabSz="228600" rtl="0" eaLnBrk="1" latinLnBrk="0" hangingPunct="1">
              <a:defRPr sz="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914400" algn="l" defTabSz="228600" rtl="0" eaLnBrk="1" latinLnBrk="0" hangingPunct="1">
              <a:defRPr sz="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143000" algn="l" defTabSz="228600" rtl="0" eaLnBrk="1" latinLnBrk="0" hangingPunct="1">
              <a:defRPr sz="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1371600" algn="l" defTabSz="228600" rtl="0" eaLnBrk="1" latinLnBrk="0" hangingPunct="1">
              <a:defRPr sz="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1600200" algn="l" defTabSz="228600" rtl="0" eaLnBrk="1" latinLnBrk="0" hangingPunct="1">
              <a:defRPr sz="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1828800" algn="l" defTabSz="228600" rtl="0" eaLnBrk="1" latinLnBrk="0" hangingPunct="1">
              <a:defRPr sz="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128590">
              <a:lnSpc>
                <a:spcPct val="110000"/>
              </a:lnSpc>
              <a:spcAft>
                <a:spcPts val="338"/>
              </a:spcAft>
              <a:defRPr/>
            </a:pPr>
            <a:r>
              <a:rPr lang="nb-NO" sz="1050" b="1" noProof="0">
                <a:solidFill>
                  <a:prstClr val="black"/>
                </a:solidFill>
                <a:latin typeface="Innovation Norway"/>
              </a:rPr>
              <a:t>Segmentene skiller mer enn marked</a:t>
            </a:r>
          </a:p>
          <a:p>
            <a:pPr defTabSz="128590">
              <a:lnSpc>
                <a:spcPct val="110000"/>
              </a:lnSpc>
              <a:spcAft>
                <a:spcPts val="338"/>
              </a:spcAft>
              <a:defRPr/>
            </a:pPr>
            <a:r>
              <a:rPr lang="nb-NO" sz="1050" noProof="0">
                <a:solidFill>
                  <a:prstClr val="black"/>
                </a:solidFill>
                <a:ea typeface="+mn-lt"/>
                <a:cs typeface="+mn-lt"/>
              </a:rPr>
              <a:t>Det er </a:t>
            </a:r>
            <a:r>
              <a:rPr lang="nb-NO" sz="1050">
                <a:solidFill>
                  <a:prstClr val="black"/>
                </a:solidFill>
                <a:ea typeface="+mn-lt"/>
                <a:cs typeface="+mn-lt"/>
              </a:rPr>
              <a:t>segmentene</a:t>
            </a:r>
            <a:r>
              <a:rPr lang="nb-NO" sz="1050" noProof="0">
                <a:solidFill>
                  <a:prstClr val="black"/>
                </a:solidFill>
                <a:ea typeface="+mn-lt"/>
                <a:cs typeface="+mn-lt"/>
              </a:rPr>
              <a:t> </a:t>
            </a:r>
            <a:r>
              <a:rPr lang="nb-NO" sz="1050">
                <a:solidFill>
                  <a:prstClr val="black"/>
                </a:solidFill>
                <a:ea typeface="+mn-lt"/>
                <a:cs typeface="+mn-lt"/>
              </a:rPr>
              <a:t>egner seg godt til å forstå det danske markedet</a:t>
            </a:r>
            <a:r>
              <a:rPr lang="nb-NO" sz="1050" noProof="0">
                <a:solidFill>
                  <a:prstClr val="black"/>
                </a:solidFill>
                <a:ea typeface="+mn-lt"/>
                <a:cs typeface="+mn-lt"/>
              </a:rPr>
              <a:t>. </a:t>
            </a:r>
            <a:r>
              <a:rPr lang="nb-NO" sz="1050">
                <a:solidFill>
                  <a:prstClr val="black"/>
                </a:solidFill>
                <a:ea typeface="+mn-lt"/>
                <a:cs typeface="+mn-lt"/>
              </a:rPr>
              <a:t>Tre segment utgjør 7 av 10 ferier. Danske </a:t>
            </a:r>
            <a:r>
              <a:rPr lang="nb-NO" sz="1050" noProof="0">
                <a:solidFill>
                  <a:prstClr val="black"/>
                </a:solidFill>
                <a:ea typeface="+mn-lt"/>
                <a:cs typeface="+mn-lt"/>
              </a:rPr>
              <a:t>reisende mer opptatt av: </a:t>
            </a:r>
          </a:p>
          <a:p>
            <a:pPr marL="228600" indent="-228600" defTabSz="128590">
              <a:lnSpc>
                <a:spcPct val="110000"/>
              </a:lnSpc>
              <a:spcAft>
                <a:spcPts val="338"/>
              </a:spcAft>
              <a:buAutoNum type="arabicPeriod"/>
              <a:defRPr/>
            </a:pPr>
            <a:r>
              <a:rPr lang="nb-NO" sz="1050">
                <a:solidFill>
                  <a:prstClr val="black"/>
                </a:solidFill>
                <a:ea typeface="+mn-lt"/>
                <a:cs typeface="+mn-lt"/>
              </a:rPr>
              <a:t>Hygge, fellesskap og ta livet med ro</a:t>
            </a:r>
            <a:endParaRPr lang="nb-NO" sz="1050" noProof="0">
              <a:solidFill>
                <a:prstClr val="black"/>
              </a:solidFill>
              <a:ea typeface="+mn-lt"/>
              <a:cs typeface="+mn-lt"/>
            </a:endParaRPr>
          </a:p>
          <a:p>
            <a:pPr marL="228600" indent="-228600" defTabSz="128590">
              <a:lnSpc>
                <a:spcPct val="110000"/>
              </a:lnSpc>
              <a:spcAft>
                <a:spcPts val="338"/>
              </a:spcAft>
              <a:buAutoNum type="arabicPeriod"/>
              <a:defRPr/>
            </a:pPr>
            <a:r>
              <a:rPr lang="nb-NO" sz="1050">
                <a:solidFill>
                  <a:prstClr val="black"/>
                </a:solidFill>
                <a:latin typeface="Innovation Norway"/>
              </a:rPr>
              <a:t>Nytelse og ta vare på seg selv og familien</a:t>
            </a:r>
            <a:endParaRPr lang="nb-NO" sz="1050" noProof="0">
              <a:solidFill>
                <a:prstClr val="black"/>
              </a:solidFill>
              <a:latin typeface="Innovation Norway"/>
            </a:endParaRPr>
          </a:p>
          <a:p>
            <a:pPr marL="228600" indent="-228600" defTabSz="128590">
              <a:lnSpc>
                <a:spcPct val="110000"/>
              </a:lnSpc>
              <a:spcAft>
                <a:spcPts val="338"/>
              </a:spcAft>
              <a:buAutoNum type="arabicPeriod"/>
              <a:defRPr/>
            </a:pPr>
            <a:r>
              <a:rPr lang="nb-NO" sz="1050">
                <a:solidFill>
                  <a:prstClr val="black"/>
                </a:solidFill>
                <a:latin typeface="Innovation Norway"/>
              </a:rPr>
              <a:t>Nysgjerrige, åpne for nye opplevelser og opptatt av lokal kultur og livsstil</a:t>
            </a:r>
          </a:p>
          <a:p>
            <a:pPr marL="228600" indent="-228600" defTabSz="128590">
              <a:lnSpc>
                <a:spcPct val="110000"/>
              </a:lnSpc>
              <a:spcAft>
                <a:spcPts val="338"/>
              </a:spcAft>
              <a:buAutoNum type="arabicPeriod"/>
              <a:defRPr/>
            </a:pPr>
            <a:r>
              <a:rPr lang="nb-NO" sz="1050">
                <a:solidFill>
                  <a:prstClr val="black"/>
                </a:solidFill>
                <a:latin typeface="Innovation Norway"/>
              </a:rPr>
              <a:t>Lett tilgjengelig og ikke overfylt av turister</a:t>
            </a:r>
          </a:p>
          <a:p>
            <a:pPr marL="228600" indent="-228600" defTabSz="128590">
              <a:lnSpc>
                <a:spcPct val="110000"/>
              </a:lnSpc>
              <a:spcAft>
                <a:spcPts val="338"/>
              </a:spcAft>
              <a:buAutoNum type="arabicPeriod"/>
              <a:defRPr/>
            </a:pPr>
            <a:r>
              <a:rPr lang="nb-NO" sz="1050">
                <a:solidFill>
                  <a:prstClr val="black"/>
                </a:solidFill>
                <a:latin typeface="Innovation Norway"/>
              </a:rPr>
              <a:t>Det er mindre forskjell mellom ulike aldersgrupper i Danmark</a:t>
            </a:r>
          </a:p>
        </p:txBody>
      </p:sp>
      <p:sp>
        <p:nvSpPr>
          <p:cNvPr id="25" name="Rectangle 10">
            <a:extLst>
              <a:ext uri="{FF2B5EF4-FFF2-40B4-BE49-F238E27FC236}">
                <a16:creationId xmlns:a16="http://schemas.microsoft.com/office/drawing/2014/main" id="{7B5AF165-3186-72B3-6785-533C665CD46A}"/>
              </a:ext>
            </a:extLst>
          </p:cNvPr>
          <p:cNvSpPr/>
          <p:nvPr/>
        </p:nvSpPr>
        <p:spPr>
          <a:xfrm>
            <a:off x="4343400" y="1231876"/>
            <a:ext cx="1804908" cy="7105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228600" rtl="0" eaLnBrk="1" latinLnBrk="0" hangingPunct="1">
              <a:defRPr sz="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228600" algn="l" defTabSz="228600" rtl="0" eaLnBrk="1" latinLnBrk="0" hangingPunct="1">
              <a:defRPr sz="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457200" algn="l" defTabSz="228600" rtl="0" eaLnBrk="1" latinLnBrk="0" hangingPunct="1">
              <a:defRPr sz="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685800" algn="l" defTabSz="228600" rtl="0" eaLnBrk="1" latinLnBrk="0" hangingPunct="1">
              <a:defRPr sz="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914400" algn="l" defTabSz="228600" rtl="0" eaLnBrk="1" latinLnBrk="0" hangingPunct="1">
              <a:defRPr sz="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143000" algn="l" defTabSz="228600" rtl="0" eaLnBrk="1" latinLnBrk="0" hangingPunct="1">
              <a:defRPr sz="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1371600" algn="l" defTabSz="228600" rtl="0" eaLnBrk="1" latinLnBrk="0" hangingPunct="1">
              <a:defRPr sz="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1600200" algn="l" defTabSz="228600" rtl="0" eaLnBrk="1" latinLnBrk="0" hangingPunct="1">
              <a:defRPr sz="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1828800" algn="l" defTabSz="228600" rtl="0" eaLnBrk="1" latinLnBrk="0" hangingPunct="1">
              <a:defRPr sz="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128590">
              <a:lnSpc>
                <a:spcPct val="110000"/>
              </a:lnSpc>
              <a:spcAft>
                <a:spcPts val="338"/>
              </a:spcAft>
              <a:defRPr/>
            </a:pPr>
            <a:r>
              <a:rPr lang="nb-NO" sz="3200" b="1" noProof="0">
                <a:solidFill>
                  <a:schemeClr val="accent1">
                    <a:lumMod val="40000"/>
                    <a:lumOff val="60000"/>
                  </a:schemeClr>
                </a:solidFill>
                <a:latin typeface="Innovation Norway"/>
              </a:rPr>
              <a:t>73%</a:t>
            </a:r>
            <a:br>
              <a:rPr lang="nb-NO" sz="1050" noProof="0">
                <a:solidFill>
                  <a:prstClr val="black"/>
                </a:solidFill>
                <a:latin typeface="Innovation Norway"/>
              </a:rPr>
            </a:br>
            <a:r>
              <a:rPr lang="nb-NO" sz="1050" noProof="0">
                <a:solidFill>
                  <a:prstClr val="black"/>
                </a:solidFill>
                <a:latin typeface="Innovation Norway"/>
              </a:rPr>
              <a:t>Av dansker er aktive reisende</a:t>
            </a:r>
          </a:p>
        </p:txBody>
      </p:sp>
      <p:grpSp>
        <p:nvGrpSpPr>
          <p:cNvPr id="12" name="Gruppe 11">
            <a:extLst>
              <a:ext uri="{FF2B5EF4-FFF2-40B4-BE49-F238E27FC236}">
                <a16:creationId xmlns:a16="http://schemas.microsoft.com/office/drawing/2014/main" id="{21A2CC8F-23ED-868D-0DB9-66EDD9E37B54}"/>
              </a:ext>
            </a:extLst>
          </p:cNvPr>
          <p:cNvGrpSpPr>
            <a:grpSpLocks noChangeAspect="1"/>
          </p:cNvGrpSpPr>
          <p:nvPr/>
        </p:nvGrpSpPr>
        <p:grpSpPr>
          <a:xfrm>
            <a:off x="4473369" y="3464737"/>
            <a:ext cx="574428" cy="528453"/>
            <a:chOff x="4863283" y="3899277"/>
            <a:chExt cx="691757" cy="636389"/>
          </a:xfrm>
        </p:grpSpPr>
        <p:sp>
          <p:nvSpPr>
            <p:cNvPr id="13" name="TextBox 69">
              <a:extLst>
                <a:ext uri="{FF2B5EF4-FFF2-40B4-BE49-F238E27FC236}">
                  <a16:creationId xmlns:a16="http://schemas.microsoft.com/office/drawing/2014/main" id="{FC25AE6A-5393-AC22-63FC-F7B29C0C76EC}"/>
                </a:ext>
              </a:extLst>
            </p:cNvPr>
            <p:cNvSpPr txBox="1"/>
            <p:nvPr/>
          </p:nvSpPr>
          <p:spPr>
            <a:xfrm>
              <a:off x="4863283" y="3899277"/>
              <a:ext cx="691757" cy="103875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algn="ctr"/>
              <a:r>
                <a:rPr lang="nb-NO" sz="675" b="1" noProof="0">
                  <a:latin typeface="Innovation Norway" panose="020B0500030000000000"/>
                </a:rPr>
                <a:t>Kultur &amp; Natur</a:t>
              </a:r>
            </a:p>
          </p:txBody>
        </p:sp>
        <p:pic>
          <p:nvPicPr>
            <p:cNvPr id="14" name="Picture 2" descr="A green and white arrow&#10;&#10;Description automatically generated">
              <a:extLst>
                <a:ext uri="{FF2B5EF4-FFF2-40B4-BE49-F238E27FC236}">
                  <a16:creationId xmlns:a16="http://schemas.microsoft.com/office/drawing/2014/main" id="{1D64C022-5D4F-5272-5937-80BB9C346440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899102" y="4043715"/>
              <a:ext cx="655936" cy="491951"/>
            </a:xfrm>
            <a:prstGeom prst="rect">
              <a:avLst/>
            </a:prstGeom>
          </p:spPr>
        </p:pic>
      </p:grpSp>
      <p:grpSp>
        <p:nvGrpSpPr>
          <p:cNvPr id="35" name="Gruppe 34">
            <a:extLst>
              <a:ext uri="{FF2B5EF4-FFF2-40B4-BE49-F238E27FC236}">
                <a16:creationId xmlns:a16="http://schemas.microsoft.com/office/drawing/2014/main" id="{5334BB37-70EB-BE16-2FE8-035354E9E9CC}"/>
              </a:ext>
            </a:extLst>
          </p:cNvPr>
          <p:cNvGrpSpPr>
            <a:grpSpLocks noChangeAspect="1"/>
          </p:cNvGrpSpPr>
          <p:nvPr/>
        </p:nvGrpSpPr>
        <p:grpSpPr>
          <a:xfrm>
            <a:off x="4417961" y="2985224"/>
            <a:ext cx="685244" cy="464280"/>
            <a:chOff x="4279618" y="6065185"/>
            <a:chExt cx="862565" cy="584422"/>
          </a:xfrm>
        </p:grpSpPr>
        <p:sp>
          <p:nvSpPr>
            <p:cNvPr id="36" name="TextBox 7">
              <a:extLst>
                <a:ext uri="{FF2B5EF4-FFF2-40B4-BE49-F238E27FC236}">
                  <a16:creationId xmlns:a16="http://schemas.microsoft.com/office/drawing/2014/main" id="{51527B7B-D8E7-75D7-8242-1005E0603A09}"/>
                </a:ext>
              </a:extLst>
            </p:cNvPr>
            <p:cNvSpPr txBox="1"/>
            <p:nvPr/>
          </p:nvSpPr>
          <p:spPr>
            <a:xfrm>
              <a:off x="4279618" y="6065185"/>
              <a:ext cx="862565" cy="103875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algn="ctr"/>
              <a:r>
                <a:rPr lang="nb-NO" sz="675" b="1" noProof="0">
                  <a:latin typeface="Innovation Norway" panose="020B0500030000000000"/>
                </a:rPr>
                <a:t>Stille Natur</a:t>
              </a:r>
            </a:p>
          </p:txBody>
        </p:sp>
        <p:pic>
          <p:nvPicPr>
            <p:cNvPr id="37" name="Picture 15" descr="A pink and white object on a black background&#10;&#10;Description automatically generated">
              <a:extLst>
                <a:ext uri="{FF2B5EF4-FFF2-40B4-BE49-F238E27FC236}">
                  <a16:creationId xmlns:a16="http://schemas.microsoft.com/office/drawing/2014/main" id="{32311E6C-4B58-058C-9765-AAAE9CD13C53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368104" y="6117123"/>
              <a:ext cx="709979" cy="532484"/>
            </a:xfrm>
            <a:prstGeom prst="rect">
              <a:avLst/>
            </a:prstGeom>
          </p:spPr>
        </p:pic>
      </p:grpSp>
      <p:grpSp>
        <p:nvGrpSpPr>
          <p:cNvPr id="38" name="Gruppe 37">
            <a:extLst>
              <a:ext uri="{FF2B5EF4-FFF2-40B4-BE49-F238E27FC236}">
                <a16:creationId xmlns:a16="http://schemas.microsoft.com/office/drawing/2014/main" id="{8D5B4440-E741-E537-3A5D-7DE52694125F}"/>
              </a:ext>
            </a:extLst>
          </p:cNvPr>
          <p:cNvGrpSpPr>
            <a:grpSpLocks noChangeAspect="1"/>
          </p:cNvGrpSpPr>
          <p:nvPr/>
        </p:nvGrpSpPr>
        <p:grpSpPr>
          <a:xfrm>
            <a:off x="4443492" y="2438664"/>
            <a:ext cx="634182" cy="486191"/>
            <a:chOff x="6603792" y="3840950"/>
            <a:chExt cx="804564" cy="616813"/>
          </a:xfrm>
        </p:grpSpPr>
        <p:sp>
          <p:nvSpPr>
            <p:cNvPr id="41" name="TextBox 64">
              <a:extLst>
                <a:ext uri="{FF2B5EF4-FFF2-40B4-BE49-F238E27FC236}">
                  <a16:creationId xmlns:a16="http://schemas.microsoft.com/office/drawing/2014/main" id="{C8087809-43E6-764D-869B-4E33502BEE50}"/>
                </a:ext>
              </a:extLst>
            </p:cNvPr>
            <p:cNvSpPr txBox="1"/>
            <p:nvPr/>
          </p:nvSpPr>
          <p:spPr>
            <a:xfrm>
              <a:off x="6687689" y="3840950"/>
              <a:ext cx="691757" cy="103875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algn="ctr"/>
              <a:r>
                <a:rPr lang="nb-NO" sz="675" b="1" noProof="0">
                  <a:latin typeface="Innovation Norway" panose="020B0500030000000000"/>
                </a:rPr>
                <a:t>Sosial Kultur</a:t>
              </a:r>
            </a:p>
          </p:txBody>
        </p:sp>
        <p:pic>
          <p:nvPicPr>
            <p:cNvPr id="44" name="Picture 126" descr="A triangular object with a black background&#10;&#10;Description automatically generated">
              <a:extLst>
                <a:ext uri="{FF2B5EF4-FFF2-40B4-BE49-F238E27FC236}">
                  <a16:creationId xmlns:a16="http://schemas.microsoft.com/office/drawing/2014/main" id="{E4B5E670-FF1B-D97D-B2FD-83EB635132D7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603792" y="3854341"/>
              <a:ext cx="804564" cy="603422"/>
            </a:xfrm>
            <a:prstGeom prst="rect">
              <a:avLst/>
            </a:prstGeom>
          </p:spPr>
        </p:pic>
      </p:grpSp>
      <p:grpSp>
        <p:nvGrpSpPr>
          <p:cNvPr id="45" name="Gruppe 44">
            <a:extLst>
              <a:ext uri="{FF2B5EF4-FFF2-40B4-BE49-F238E27FC236}">
                <a16:creationId xmlns:a16="http://schemas.microsoft.com/office/drawing/2014/main" id="{D4190D98-A560-7F3F-5024-903E2F219E0A}"/>
              </a:ext>
            </a:extLst>
          </p:cNvPr>
          <p:cNvGrpSpPr/>
          <p:nvPr/>
        </p:nvGrpSpPr>
        <p:grpSpPr>
          <a:xfrm>
            <a:off x="4414704" y="4607090"/>
            <a:ext cx="691759" cy="490412"/>
            <a:chOff x="4435977" y="4979033"/>
            <a:chExt cx="691759" cy="490412"/>
          </a:xfrm>
        </p:grpSpPr>
        <p:sp>
          <p:nvSpPr>
            <p:cNvPr id="46" name="TextBox 79">
              <a:extLst>
                <a:ext uri="{FF2B5EF4-FFF2-40B4-BE49-F238E27FC236}">
                  <a16:creationId xmlns:a16="http://schemas.microsoft.com/office/drawing/2014/main" id="{59C32498-61FD-91A1-6F0E-76ADCEEC8169}"/>
                </a:ext>
              </a:extLst>
            </p:cNvPr>
            <p:cNvSpPr txBox="1"/>
            <p:nvPr/>
          </p:nvSpPr>
          <p:spPr>
            <a:xfrm>
              <a:off x="4435977" y="5013783"/>
              <a:ext cx="691759" cy="103875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algn="ctr"/>
              <a:r>
                <a:rPr lang="nb-NO" sz="675" b="1" noProof="0">
                  <a:latin typeface="Innovation Norway" panose="020B0500030000000000"/>
                </a:rPr>
                <a:t>Adventure</a:t>
              </a:r>
            </a:p>
          </p:txBody>
        </p:sp>
        <p:pic>
          <p:nvPicPr>
            <p:cNvPr id="47" name="Picture 10" descr="A yellow diamond shaped object&#10;&#10;Description automatically generated">
              <a:extLst>
                <a:ext uri="{FF2B5EF4-FFF2-40B4-BE49-F238E27FC236}">
                  <a16:creationId xmlns:a16="http://schemas.microsoft.com/office/drawing/2014/main" id="{C9E10A68-F68A-1CB0-557C-ED7D9AC681C8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455282" y="4979033"/>
              <a:ext cx="653883" cy="490412"/>
            </a:xfrm>
            <a:prstGeom prst="rect">
              <a:avLst/>
            </a:prstGeom>
          </p:spPr>
        </p:pic>
      </p:grpSp>
      <p:grpSp>
        <p:nvGrpSpPr>
          <p:cNvPr id="48" name="Gruppe 47">
            <a:extLst>
              <a:ext uri="{FF2B5EF4-FFF2-40B4-BE49-F238E27FC236}">
                <a16:creationId xmlns:a16="http://schemas.microsoft.com/office/drawing/2014/main" id="{E88744FD-8427-2D89-D07D-5F1B9D883C26}"/>
              </a:ext>
            </a:extLst>
          </p:cNvPr>
          <p:cNvGrpSpPr/>
          <p:nvPr/>
        </p:nvGrpSpPr>
        <p:grpSpPr>
          <a:xfrm>
            <a:off x="4414705" y="5168503"/>
            <a:ext cx="691757" cy="463700"/>
            <a:chOff x="5341368" y="5013783"/>
            <a:chExt cx="691757" cy="463700"/>
          </a:xfrm>
        </p:grpSpPr>
        <p:sp>
          <p:nvSpPr>
            <p:cNvPr id="49" name="TextBox 82">
              <a:extLst>
                <a:ext uri="{FF2B5EF4-FFF2-40B4-BE49-F238E27FC236}">
                  <a16:creationId xmlns:a16="http://schemas.microsoft.com/office/drawing/2014/main" id="{059BC54D-433D-E65A-7DDF-82FE2383D035}"/>
                </a:ext>
              </a:extLst>
            </p:cNvPr>
            <p:cNvSpPr txBox="1"/>
            <p:nvPr/>
          </p:nvSpPr>
          <p:spPr>
            <a:xfrm>
              <a:off x="5341368" y="5013783"/>
              <a:ext cx="691757" cy="103875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algn="ctr"/>
              <a:r>
                <a:rPr lang="nb-NO" sz="675" b="1" noProof="0">
                  <a:latin typeface="Innovation Norway" panose="020B0500030000000000"/>
                </a:rPr>
                <a:t>Adventure </a:t>
              </a:r>
              <a:r>
                <a:rPr lang="nb-NO" sz="675" b="1" noProof="0" err="1">
                  <a:latin typeface="Innovation Norway" panose="020B0500030000000000"/>
                </a:rPr>
                <a:t>Light</a:t>
              </a:r>
              <a:endParaRPr lang="nb-NO" sz="675" b="1" noProof="0">
                <a:latin typeface="Innovation Norway" panose="020B0500030000000000"/>
              </a:endParaRPr>
            </a:p>
          </p:txBody>
        </p:sp>
        <p:pic>
          <p:nvPicPr>
            <p:cNvPr id="50" name="Picture 11" descr="A yellow diamond shaped object&#10;&#10;Description automatically generated">
              <a:extLst>
                <a:ext uri="{FF2B5EF4-FFF2-40B4-BE49-F238E27FC236}">
                  <a16:creationId xmlns:a16="http://schemas.microsoft.com/office/drawing/2014/main" id="{675F17FB-C90F-AA19-102A-00B5EE221080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411620" y="5093852"/>
              <a:ext cx="511508" cy="383631"/>
            </a:xfrm>
            <a:prstGeom prst="rect">
              <a:avLst/>
            </a:prstGeom>
          </p:spPr>
        </p:pic>
      </p:grpSp>
      <p:grpSp>
        <p:nvGrpSpPr>
          <p:cNvPr id="51" name="Gruppe 50">
            <a:extLst>
              <a:ext uri="{FF2B5EF4-FFF2-40B4-BE49-F238E27FC236}">
                <a16:creationId xmlns:a16="http://schemas.microsoft.com/office/drawing/2014/main" id="{3FC3BB04-D5F8-4A1E-D53F-B23A85498DE9}"/>
              </a:ext>
            </a:extLst>
          </p:cNvPr>
          <p:cNvGrpSpPr/>
          <p:nvPr/>
        </p:nvGrpSpPr>
        <p:grpSpPr>
          <a:xfrm>
            <a:off x="4221243" y="5747357"/>
            <a:ext cx="1078681" cy="457243"/>
            <a:chOff x="5095824" y="5832060"/>
            <a:chExt cx="1078681" cy="457243"/>
          </a:xfrm>
        </p:grpSpPr>
        <p:sp>
          <p:nvSpPr>
            <p:cNvPr id="52" name="TextBox 86">
              <a:extLst>
                <a:ext uri="{FF2B5EF4-FFF2-40B4-BE49-F238E27FC236}">
                  <a16:creationId xmlns:a16="http://schemas.microsoft.com/office/drawing/2014/main" id="{F28FCDCD-49FE-66EC-5499-49E33A4C3A0A}"/>
                </a:ext>
              </a:extLst>
            </p:cNvPr>
            <p:cNvSpPr txBox="1"/>
            <p:nvPr/>
          </p:nvSpPr>
          <p:spPr>
            <a:xfrm>
              <a:off x="5095824" y="5832060"/>
              <a:ext cx="1078681" cy="103875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algn="ctr"/>
              <a:r>
                <a:rPr lang="nb-NO" sz="675" b="1" noProof="0">
                  <a:latin typeface="Innovation Norway" panose="020B0500030000000000"/>
                </a:rPr>
                <a:t>Komfortabel Avslapping</a:t>
              </a:r>
            </a:p>
          </p:txBody>
        </p:sp>
        <p:pic>
          <p:nvPicPr>
            <p:cNvPr id="54" name="Picture 14" descr="A white triangle with a black background&#10;&#10;Description automatically generated">
              <a:extLst>
                <a:ext uri="{FF2B5EF4-FFF2-40B4-BE49-F238E27FC236}">
                  <a16:creationId xmlns:a16="http://schemas.microsoft.com/office/drawing/2014/main" id="{2D06B808-CFC7-08F6-2CD0-6F8CF3C4AE5F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371688" y="5905672"/>
              <a:ext cx="511508" cy="383631"/>
            </a:xfrm>
            <a:prstGeom prst="rect">
              <a:avLst/>
            </a:prstGeom>
          </p:spPr>
        </p:pic>
      </p:grpSp>
      <p:grpSp>
        <p:nvGrpSpPr>
          <p:cNvPr id="55" name="Gruppe 54">
            <a:extLst>
              <a:ext uri="{FF2B5EF4-FFF2-40B4-BE49-F238E27FC236}">
                <a16:creationId xmlns:a16="http://schemas.microsoft.com/office/drawing/2014/main" id="{365B0495-4740-36C8-44BF-9584204762F8}"/>
              </a:ext>
            </a:extLst>
          </p:cNvPr>
          <p:cNvGrpSpPr/>
          <p:nvPr/>
        </p:nvGrpSpPr>
        <p:grpSpPr>
          <a:xfrm>
            <a:off x="4362386" y="4091361"/>
            <a:ext cx="796394" cy="597296"/>
            <a:chOff x="4174807" y="4049603"/>
            <a:chExt cx="796394" cy="597296"/>
          </a:xfrm>
        </p:grpSpPr>
        <p:sp>
          <p:nvSpPr>
            <p:cNvPr id="56" name="TextBox 74">
              <a:extLst>
                <a:ext uri="{FF2B5EF4-FFF2-40B4-BE49-F238E27FC236}">
                  <a16:creationId xmlns:a16="http://schemas.microsoft.com/office/drawing/2014/main" id="{1EBD0602-366A-B664-9AAE-2DFD514A4912}"/>
                </a:ext>
              </a:extLst>
            </p:cNvPr>
            <p:cNvSpPr txBox="1"/>
            <p:nvPr/>
          </p:nvSpPr>
          <p:spPr>
            <a:xfrm>
              <a:off x="4240837" y="4050724"/>
              <a:ext cx="691757" cy="103875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algn="ctr"/>
              <a:r>
                <a:rPr lang="nb-NO" sz="675" b="1" noProof="0">
                  <a:latin typeface="Innovation Norway" panose="020B0500030000000000"/>
                </a:rPr>
                <a:t>Kunst &amp; Dannelse</a:t>
              </a:r>
            </a:p>
          </p:txBody>
        </p:sp>
        <p:pic>
          <p:nvPicPr>
            <p:cNvPr id="57" name="Picture 12" descr="A green arrow with white outline&#10;&#10;Description automatically generated">
              <a:extLst>
                <a:ext uri="{FF2B5EF4-FFF2-40B4-BE49-F238E27FC236}">
                  <a16:creationId xmlns:a16="http://schemas.microsoft.com/office/drawing/2014/main" id="{9FBF1E75-3045-3E5F-DAC8-BFEC837AA31F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174807" y="4049603"/>
              <a:ext cx="796394" cy="597296"/>
            </a:xfrm>
            <a:prstGeom prst="rect">
              <a:avLst/>
            </a:prstGeom>
          </p:spPr>
        </p:pic>
      </p:grpSp>
      <p:grpSp>
        <p:nvGrpSpPr>
          <p:cNvPr id="58" name="Gruppe 57">
            <a:extLst>
              <a:ext uri="{FF2B5EF4-FFF2-40B4-BE49-F238E27FC236}">
                <a16:creationId xmlns:a16="http://schemas.microsoft.com/office/drawing/2014/main" id="{1C20ECC6-59FD-4441-1C2B-9E6C33D3BF81}"/>
              </a:ext>
            </a:extLst>
          </p:cNvPr>
          <p:cNvGrpSpPr/>
          <p:nvPr/>
        </p:nvGrpSpPr>
        <p:grpSpPr>
          <a:xfrm>
            <a:off x="4287674" y="6718755"/>
            <a:ext cx="945819" cy="671261"/>
            <a:chOff x="4308947" y="5734671"/>
            <a:chExt cx="945819" cy="671261"/>
          </a:xfrm>
        </p:grpSpPr>
        <p:sp>
          <p:nvSpPr>
            <p:cNvPr id="59" name="TextBox 84">
              <a:extLst>
                <a:ext uri="{FF2B5EF4-FFF2-40B4-BE49-F238E27FC236}">
                  <a16:creationId xmlns:a16="http://schemas.microsoft.com/office/drawing/2014/main" id="{8864F530-E3E9-247F-82BA-504295020B6C}"/>
                </a:ext>
              </a:extLst>
            </p:cNvPr>
            <p:cNvSpPr txBox="1"/>
            <p:nvPr/>
          </p:nvSpPr>
          <p:spPr>
            <a:xfrm>
              <a:off x="4308947" y="5832060"/>
              <a:ext cx="945819" cy="103875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algn="ctr"/>
              <a:r>
                <a:rPr lang="nb-NO" sz="675" b="1" noProof="0">
                  <a:latin typeface="Innovation Norway" panose="020B0500030000000000"/>
                </a:rPr>
                <a:t>Luksuriøs Velvære</a:t>
              </a:r>
            </a:p>
          </p:txBody>
        </p:sp>
        <p:pic>
          <p:nvPicPr>
            <p:cNvPr id="60" name="Picture 8">
              <a:extLst>
                <a:ext uri="{FF2B5EF4-FFF2-40B4-BE49-F238E27FC236}">
                  <a16:creationId xmlns:a16="http://schemas.microsoft.com/office/drawing/2014/main" id="{A2113289-00E4-5C76-EAF0-9EC8E6CCCFF4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346140" y="5734671"/>
              <a:ext cx="895015" cy="671261"/>
            </a:xfrm>
            <a:prstGeom prst="rect">
              <a:avLst/>
            </a:prstGeom>
            <a:noFill/>
            <a:ln>
              <a:noFill/>
            </a:ln>
          </p:spPr>
        </p:pic>
      </p:grpSp>
      <p:grpSp>
        <p:nvGrpSpPr>
          <p:cNvPr id="61" name="Gruppe 60">
            <a:extLst>
              <a:ext uri="{FF2B5EF4-FFF2-40B4-BE49-F238E27FC236}">
                <a16:creationId xmlns:a16="http://schemas.microsoft.com/office/drawing/2014/main" id="{91038B9E-9A11-41C8-0C61-2858AFF820ED}"/>
              </a:ext>
            </a:extLst>
          </p:cNvPr>
          <p:cNvGrpSpPr/>
          <p:nvPr/>
        </p:nvGrpSpPr>
        <p:grpSpPr>
          <a:xfrm>
            <a:off x="4329301" y="6264820"/>
            <a:ext cx="862565" cy="574297"/>
            <a:chOff x="5580028" y="3238430"/>
            <a:chExt cx="862565" cy="574297"/>
          </a:xfrm>
        </p:grpSpPr>
        <p:sp>
          <p:nvSpPr>
            <p:cNvPr id="88" name="TextBox 59">
              <a:extLst>
                <a:ext uri="{FF2B5EF4-FFF2-40B4-BE49-F238E27FC236}">
                  <a16:creationId xmlns:a16="http://schemas.microsoft.com/office/drawing/2014/main" id="{816AEEC5-D811-AE4C-C217-C0723D7B8F58}"/>
                </a:ext>
              </a:extLst>
            </p:cNvPr>
            <p:cNvSpPr txBox="1"/>
            <p:nvPr/>
          </p:nvSpPr>
          <p:spPr>
            <a:xfrm>
              <a:off x="5580028" y="3238430"/>
              <a:ext cx="862565" cy="103875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algn="ctr"/>
              <a:r>
                <a:rPr lang="nb-NO" sz="675" b="1" noProof="0">
                  <a:latin typeface="Innovation Norway" panose="020B0500030000000000"/>
                </a:rPr>
                <a:t>Aktiv Natur </a:t>
              </a:r>
            </a:p>
          </p:txBody>
        </p:sp>
        <p:pic>
          <p:nvPicPr>
            <p:cNvPr id="89" name="Picture 1" descr="A red arrow with white lines&#10;&#10;Description automatically generated">
              <a:extLst>
                <a:ext uri="{FF2B5EF4-FFF2-40B4-BE49-F238E27FC236}">
                  <a16:creationId xmlns:a16="http://schemas.microsoft.com/office/drawing/2014/main" id="{F2081741-490B-67C2-C808-1380228B1E67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725536" y="3305431"/>
              <a:ext cx="676394" cy="507296"/>
            </a:xfrm>
            <a:prstGeom prst="rect">
              <a:avLst/>
            </a:prstGeom>
          </p:spPr>
        </p:pic>
      </p:grpSp>
      <p:pic>
        <p:nvPicPr>
          <p:cNvPr id="115" name="Picture 9" descr="A pink and white object on a black background&#10;&#10;Description automatically generated">
            <a:extLst>
              <a:ext uri="{FF2B5EF4-FFF2-40B4-BE49-F238E27FC236}">
                <a16:creationId xmlns:a16="http://schemas.microsoft.com/office/drawing/2014/main" id="{B2F6039E-9AF6-5D3C-941B-ACEA3D1FC21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3711" y="5885708"/>
            <a:ext cx="551475" cy="413607"/>
          </a:xfrm>
          <a:prstGeom prst="rect">
            <a:avLst/>
          </a:prstGeom>
        </p:spPr>
      </p:pic>
      <p:pic>
        <p:nvPicPr>
          <p:cNvPr id="116" name="Picture 10" descr="A green arrow with white outline&#10;&#10;Description automatically generated">
            <a:extLst>
              <a:ext uri="{FF2B5EF4-FFF2-40B4-BE49-F238E27FC236}">
                <a16:creationId xmlns:a16="http://schemas.microsoft.com/office/drawing/2014/main" id="{4D79133D-4480-AF0C-75FA-FF11225D8AAF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7311" y="5781273"/>
            <a:ext cx="723841" cy="542882"/>
          </a:xfrm>
          <a:prstGeom prst="rect">
            <a:avLst/>
          </a:prstGeom>
        </p:spPr>
      </p:pic>
      <p:pic>
        <p:nvPicPr>
          <p:cNvPr id="117" name="Picture 7" descr="A yellow diamond shaped object&#10;&#10;Description automatically generated">
            <a:extLst>
              <a:ext uri="{FF2B5EF4-FFF2-40B4-BE49-F238E27FC236}">
                <a16:creationId xmlns:a16="http://schemas.microsoft.com/office/drawing/2014/main" id="{B63C6777-207F-3599-537D-D7F32C398842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1207" y="7463333"/>
            <a:ext cx="619048" cy="464286"/>
          </a:xfrm>
          <a:prstGeom prst="rect">
            <a:avLst/>
          </a:prstGeom>
        </p:spPr>
      </p:pic>
      <p:pic>
        <p:nvPicPr>
          <p:cNvPr id="118" name="Picture 9" descr="A yellow diamond shaped object&#10;&#10;Description automatically generated">
            <a:extLst>
              <a:ext uri="{FF2B5EF4-FFF2-40B4-BE49-F238E27FC236}">
                <a16:creationId xmlns:a16="http://schemas.microsoft.com/office/drawing/2014/main" id="{D75E094A-624D-89D0-FBBC-F20A74D7832C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4494" y="7539663"/>
            <a:ext cx="482603" cy="361952"/>
          </a:xfrm>
          <a:prstGeom prst="rect">
            <a:avLst/>
          </a:prstGeom>
        </p:spPr>
      </p:pic>
      <p:pic>
        <p:nvPicPr>
          <p:cNvPr id="119" name="Picture 10" descr="A white triangle with a black background&#10;&#10;Description automatically generated">
            <a:extLst>
              <a:ext uri="{FF2B5EF4-FFF2-40B4-BE49-F238E27FC236}">
                <a16:creationId xmlns:a16="http://schemas.microsoft.com/office/drawing/2014/main" id="{B3703C9C-E060-8A66-67DA-F94F1F5AF235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0156" y="8330951"/>
            <a:ext cx="444338" cy="333254"/>
          </a:xfrm>
          <a:prstGeom prst="rect">
            <a:avLst/>
          </a:prstGeom>
        </p:spPr>
      </p:pic>
      <p:sp>
        <p:nvSpPr>
          <p:cNvPr id="4" name="Rectangle 10">
            <a:extLst>
              <a:ext uri="{FF2B5EF4-FFF2-40B4-BE49-F238E27FC236}">
                <a16:creationId xmlns:a16="http://schemas.microsoft.com/office/drawing/2014/main" id="{627C153B-C0BB-83EA-5DA3-3D060623FF53}"/>
              </a:ext>
            </a:extLst>
          </p:cNvPr>
          <p:cNvSpPr/>
          <p:nvPr/>
        </p:nvSpPr>
        <p:spPr>
          <a:xfrm>
            <a:off x="1225550" y="5809904"/>
            <a:ext cx="2710132" cy="163423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228600" rtl="0" eaLnBrk="1" latinLnBrk="0" hangingPunct="1">
              <a:defRPr sz="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228600" algn="l" defTabSz="228600" rtl="0" eaLnBrk="1" latinLnBrk="0" hangingPunct="1">
              <a:defRPr sz="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457200" algn="l" defTabSz="228600" rtl="0" eaLnBrk="1" latinLnBrk="0" hangingPunct="1">
              <a:defRPr sz="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685800" algn="l" defTabSz="228600" rtl="0" eaLnBrk="1" latinLnBrk="0" hangingPunct="1">
              <a:defRPr sz="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914400" algn="l" defTabSz="228600" rtl="0" eaLnBrk="1" latinLnBrk="0" hangingPunct="1">
              <a:defRPr sz="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143000" algn="l" defTabSz="228600" rtl="0" eaLnBrk="1" latinLnBrk="0" hangingPunct="1">
              <a:defRPr sz="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1371600" algn="l" defTabSz="228600" rtl="0" eaLnBrk="1" latinLnBrk="0" hangingPunct="1">
              <a:defRPr sz="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1600200" algn="l" defTabSz="228600" rtl="0" eaLnBrk="1" latinLnBrk="0" hangingPunct="1">
              <a:defRPr sz="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1828800" algn="l" defTabSz="228600" rtl="0" eaLnBrk="1" latinLnBrk="0" hangingPunct="1">
              <a:defRPr sz="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128590">
              <a:lnSpc>
                <a:spcPct val="110000"/>
              </a:lnSpc>
              <a:spcAft>
                <a:spcPts val="338"/>
              </a:spcAft>
              <a:defRPr/>
            </a:pPr>
            <a:r>
              <a:rPr lang="nb-NO" sz="1050" b="1" noProof="0">
                <a:solidFill>
                  <a:prstClr val="black"/>
                </a:solidFill>
                <a:latin typeface="Innovation Norway"/>
              </a:rPr>
              <a:t>Stille Natur</a:t>
            </a:r>
            <a:r>
              <a:rPr lang="nb-NO" sz="1050" b="1">
                <a:solidFill>
                  <a:prstClr val="black"/>
                </a:solidFill>
                <a:latin typeface="Innovation Norway"/>
              </a:rPr>
              <a:t>,</a:t>
            </a:r>
            <a:r>
              <a:rPr lang="nb-NO" sz="1050" b="1" noProof="0">
                <a:solidFill>
                  <a:prstClr val="black"/>
                </a:solidFill>
                <a:latin typeface="Innovation Norway"/>
              </a:rPr>
              <a:t> </a:t>
            </a:r>
            <a:r>
              <a:rPr lang="nb-NO" sz="1100" b="1">
                <a:solidFill>
                  <a:prstClr val="black"/>
                </a:solidFill>
                <a:ea typeface="+mn-lt"/>
                <a:cs typeface="+mn-lt"/>
              </a:rPr>
              <a:t>Kultur &amp; Natur, Sosial Kultur og </a:t>
            </a:r>
            <a:r>
              <a:rPr lang="nb-NO" sz="1100" b="1">
                <a:solidFill>
                  <a:prstClr val="black"/>
                </a:solidFill>
                <a:latin typeface="Innovation Norway"/>
              </a:rPr>
              <a:t>Kunst &amp; Dannelse</a:t>
            </a:r>
          </a:p>
          <a:p>
            <a:pPr marL="171450" indent="-171450" defTabSz="128590">
              <a:lnSpc>
                <a:spcPct val="110000"/>
              </a:lnSpc>
              <a:spcAft>
                <a:spcPts val="338"/>
              </a:spcAft>
              <a:buFont typeface="Arial" panose="020B0604020202020204" pitchFamily="34" charset="0"/>
              <a:buChar char="•"/>
              <a:defRPr/>
            </a:pPr>
            <a:r>
              <a:rPr lang="nb-NO" sz="1100" noProof="0">
                <a:solidFill>
                  <a:prstClr val="black"/>
                </a:solidFill>
                <a:latin typeface="Innovation Norway"/>
              </a:rPr>
              <a:t>Mer</a:t>
            </a:r>
            <a:r>
              <a:rPr lang="nb-NO" sz="1100">
                <a:solidFill>
                  <a:prstClr val="black"/>
                </a:solidFill>
                <a:latin typeface="Innovation Norway"/>
              </a:rPr>
              <a:t> </a:t>
            </a:r>
            <a:r>
              <a:rPr lang="nb-NO" sz="1100">
                <a:solidFill>
                  <a:prstClr val="black"/>
                </a:solidFill>
              </a:rPr>
              <a:t>eventyrlystne og opptatt av uberørt natur. </a:t>
            </a:r>
            <a:endParaRPr lang="nb-NO" sz="1100"/>
          </a:p>
          <a:p>
            <a:pPr marL="171450" indent="-171450" defTabSz="128590">
              <a:lnSpc>
                <a:spcPct val="110000"/>
              </a:lnSpc>
              <a:spcAft>
                <a:spcPts val="338"/>
              </a:spcAft>
              <a:buFont typeface="Arial" panose="020B0604020202020204" pitchFamily="34" charset="0"/>
              <a:buChar char="•"/>
              <a:defRPr/>
            </a:pPr>
            <a:r>
              <a:rPr lang="nb-NO" sz="1100">
                <a:solidFill>
                  <a:prstClr val="black"/>
                </a:solidFill>
              </a:rPr>
              <a:t>Mer lokal mat og drikke</a:t>
            </a:r>
          </a:p>
          <a:p>
            <a:pPr marL="171450" indent="-171450" defTabSz="128590">
              <a:lnSpc>
                <a:spcPct val="110000"/>
              </a:lnSpc>
              <a:spcAft>
                <a:spcPts val="338"/>
              </a:spcAft>
              <a:buFont typeface="Arial" panose="020B0604020202020204" pitchFamily="34" charset="0"/>
              <a:buChar char="•"/>
              <a:defRPr/>
            </a:pPr>
            <a:r>
              <a:rPr lang="nb-NO" sz="1100">
                <a:solidFill>
                  <a:prstClr val="black"/>
                </a:solidFill>
              </a:rPr>
              <a:t>Mindre stillhet, harmoni og balanse og boost i mental velvære. </a:t>
            </a:r>
          </a:p>
          <a:p>
            <a:pPr marL="171450" indent="-171450" defTabSz="128590">
              <a:lnSpc>
                <a:spcPct val="110000"/>
              </a:lnSpc>
              <a:spcAft>
                <a:spcPts val="338"/>
              </a:spcAft>
              <a:buFont typeface="Arial" panose="020B0604020202020204" pitchFamily="34" charset="0"/>
              <a:buChar char="•"/>
              <a:defRPr/>
            </a:pPr>
            <a:r>
              <a:rPr lang="nb-NO" sz="1100">
                <a:solidFill>
                  <a:prstClr val="black"/>
                </a:solidFill>
              </a:rPr>
              <a:t>Mindre opptatt av å møte nye mennesker</a:t>
            </a:r>
            <a:r>
              <a:rPr lang="nb-NO" sz="1100" b="1">
                <a:solidFill>
                  <a:prstClr val="black"/>
                </a:solidFill>
                <a:latin typeface="Innovation Norway"/>
              </a:rPr>
              <a:t> </a:t>
            </a:r>
            <a:r>
              <a:rPr lang="nb-NO" sz="1050" b="1">
                <a:solidFill>
                  <a:prstClr val="black"/>
                </a:solidFill>
                <a:latin typeface="Innovation Norway"/>
              </a:rPr>
              <a:t> </a:t>
            </a:r>
            <a:endParaRPr lang="nb-NO" noProof="0">
              <a:solidFill>
                <a:prstClr val="black"/>
              </a:solidFill>
            </a:endParaRPr>
          </a:p>
        </p:txBody>
      </p:sp>
      <p:sp>
        <p:nvSpPr>
          <p:cNvPr id="8" name="Graphic 11">
            <a:extLst>
              <a:ext uri="{FF2B5EF4-FFF2-40B4-BE49-F238E27FC236}">
                <a16:creationId xmlns:a16="http://schemas.microsoft.com/office/drawing/2014/main" id="{6489EC75-DF36-EA3B-F1ED-1918C1822D12}"/>
              </a:ext>
            </a:extLst>
          </p:cNvPr>
          <p:cNvSpPr/>
          <p:nvPr/>
        </p:nvSpPr>
        <p:spPr>
          <a:xfrm>
            <a:off x="287426" y="5399060"/>
            <a:ext cx="3377568" cy="340870"/>
          </a:xfrm>
          <a:custGeom>
            <a:avLst/>
            <a:gdLst>
              <a:gd name="connsiteX0" fmla="*/ 2050099 w 2208308"/>
              <a:gd name="connsiteY0" fmla="*/ 263195 h 507788"/>
              <a:gd name="connsiteX1" fmla="*/ 2056195 w 2208308"/>
              <a:gd name="connsiteY1" fmla="*/ 254813 h 507788"/>
              <a:gd name="connsiteX2" fmla="*/ 2067910 w 2208308"/>
              <a:gd name="connsiteY2" fmla="*/ 255004 h 507788"/>
              <a:gd name="connsiteX3" fmla="*/ 2075530 w 2208308"/>
              <a:gd name="connsiteY3" fmla="*/ 247479 h 507788"/>
              <a:gd name="connsiteX4" fmla="*/ 2080293 w 2208308"/>
              <a:gd name="connsiteY4" fmla="*/ 248336 h 507788"/>
              <a:gd name="connsiteX5" fmla="*/ 2099057 w 2208308"/>
              <a:gd name="connsiteY5" fmla="*/ 262719 h 507788"/>
              <a:gd name="connsiteX6" fmla="*/ 2099057 w 2208308"/>
              <a:gd name="connsiteY6" fmla="*/ 264910 h 507788"/>
              <a:gd name="connsiteX7" fmla="*/ 2107820 w 2208308"/>
              <a:gd name="connsiteY7" fmla="*/ 271577 h 507788"/>
              <a:gd name="connsiteX8" fmla="*/ 2124870 w 2208308"/>
              <a:gd name="connsiteY8" fmla="*/ 274625 h 507788"/>
              <a:gd name="connsiteX9" fmla="*/ 2127823 w 2208308"/>
              <a:gd name="connsiteY9" fmla="*/ 281674 h 507788"/>
              <a:gd name="connsiteX10" fmla="*/ 2122870 w 2208308"/>
              <a:gd name="connsiteY10" fmla="*/ 283388 h 507788"/>
              <a:gd name="connsiteX11" fmla="*/ 2089437 w 2208308"/>
              <a:gd name="connsiteY11" fmla="*/ 275483 h 507788"/>
              <a:gd name="connsiteX12" fmla="*/ 2054480 w 2208308"/>
              <a:gd name="connsiteY12" fmla="*/ 270149 h 507788"/>
              <a:gd name="connsiteX13" fmla="*/ 2050099 w 2208308"/>
              <a:gd name="connsiteY13" fmla="*/ 263291 h 507788"/>
              <a:gd name="connsiteX14" fmla="*/ 2164589 w 2208308"/>
              <a:gd name="connsiteY14" fmla="*/ 284722 h 507788"/>
              <a:gd name="connsiteX15" fmla="*/ 2131633 w 2208308"/>
              <a:gd name="connsiteY15" fmla="*/ 282531 h 507788"/>
              <a:gd name="connsiteX16" fmla="*/ 2145444 w 2208308"/>
              <a:gd name="connsiteY16" fmla="*/ 286055 h 507788"/>
              <a:gd name="connsiteX17" fmla="*/ 2164589 w 2208308"/>
              <a:gd name="connsiteY17" fmla="*/ 284722 h 507788"/>
              <a:gd name="connsiteX18" fmla="*/ 2059338 w 2208308"/>
              <a:gd name="connsiteY18" fmla="*/ 175565 h 507788"/>
              <a:gd name="connsiteX19" fmla="*/ 2046193 w 2208308"/>
              <a:gd name="connsiteY19" fmla="*/ 187186 h 507788"/>
              <a:gd name="connsiteX20" fmla="*/ 2096009 w 2208308"/>
              <a:gd name="connsiteY20" fmla="*/ 191948 h 507788"/>
              <a:gd name="connsiteX21" fmla="*/ 2080102 w 2208308"/>
              <a:gd name="connsiteY21" fmla="*/ 186519 h 507788"/>
              <a:gd name="connsiteX22" fmla="*/ 2067434 w 2208308"/>
              <a:gd name="connsiteY22" fmla="*/ 175375 h 507788"/>
              <a:gd name="connsiteX23" fmla="*/ 2059338 w 2208308"/>
              <a:gd name="connsiteY23" fmla="*/ 175565 h 507788"/>
              <a:gd name="connsiteX24" fmla="*/ 2109154 w 2208308"/>
              <a:gd name="connsiteY24" fmla="*/ 429502 h 507788"/>
              <a:gd name="connsiteX25" fmla="*/ 2138300 w 2208308"/>
              <a:gd name="connsiteY25" fmla="*/ 435979 h 507788"/>
              <a:gd name="connsiteX26" fmla="*/ 2164589 w 2208308"/>
              <a:gd name="connsiteY26" fmla="*/ 453505 h 507788"/>
              <a:gd name="connsiteX27" fmla="*/ 2187163 w 2208308"/>
              <a:gd name="connsiteY27" fmla="*/ 463506 h 507788"/>
              <a:gd name="connsiteX28" fmla="*/ 2149349 w 2208308"/>
              <a:gd name="connsiteY28" fmla="*/ 460934 h 507788"/>
              <a:gd name="connsiteX29" fmla="*/ 2146492 w 2208308"/>
              <a:gd name="connsiteY29" fmla="*/ 460744 h 507788"/>
              <a:gd name="connsiteX30" fmla="*/ 2106201 w 2208308"/>
              <a:gd name="connsiteY30" fmla="*/ 453124 h 507788"/>
              <a:gd name="connsiteX31" fmla="*/ 2072292 w 2208308"/>
              <a:gd name="connsiteY31" fmla="*/ 441313 h 507788"/>
              <a:gd name="connsiteX32" fmla="*/ 2065339 w 2208308"/>
              <a:gd name="connsiteY32" fmla="*/ 440646 h 507788"/>
              <a:gd name="connsiteX33" fmla="*/ 2056004 w 2208308"/>
              <a:gd name="connsiteY33" fmla="*/ 441122 h 507788"/>
              <a:gd name="connsiteX34" fmla="*/ 2042955 w 2208308"/>
              <a:gd name="connsiteY34" fmla="*/ 437693 h 507788"/>
              <a:gd name="connsiteX35" fmla="*/ 2025905 w 2208308"/>
              <a:gd name="connsiteY35" fmla="*/ 429788 h 507788"/>
              <a:gd name="connsiteX36" fmla="*/ 2022571 w 2208308"/>
              <a:gd name="connsiteY36" fmla="*/ 427787 h 507788"/>
              <a:gd name="connsiteX37" fmla="*/ 2022381 w 2208308"/>
              <a:gd name="connsiteY37" fmla="*/ 437789 h 507788"/>
              <a:gd name="connsiteX38" fmla="*/ 2028286 w 2208308"/>
              <a:gd name="connsiteY38" fmla="*/ 451314 h 507788"/>
              <a:gd name="connsiteX39" fmla="*/ 2050194 w 2208308"/>
              <a:gd name="connsiteY39" fmla="*/ 458458 h 507788"/>
              <a:gd name="connsiteX40" fmla="*/ 2066101 w 2208308"/>
              <a:gd name="connsiteY40" fmla="*/ 463030 h 507788"/>
              <a:gd name="connsiteX41" fmla="*/ 2069530 w 2208308"/>
              <a:gd name="connsiteY41" fmla="*/ 470555 h 507788"/>
              <a:gd name="connsiteX42" fmla="*/ 2062862 w 2208308"/>
              <a:gd name="connsiteY42" fmla="*/ 471888 h 507788"/>
              <a:gd name="connsiteX43" fmla="*/ 2047051 w 2208308"/>
              <a:gd name="connsiteY43" fmla="*/ 470555 h 507788"/>
              <a:gd name="connsiteX44" fmla="*/ 2035621 w 2208308"/>
              <a:gd name="connsiteY44" fmla="*/ 470555 h 507788"/>
              <a:gd name="connsiteX45" fmla="*/ 2008474 w 2208308"/>
              <a:gd name="connsiteY45" fmla="*/ 458553 h 507788"/>
              <a:gd name="connsiteX46" fmla="*/ 1994092 w 2208308"/>
              <a:gd name="connsiteY46" fmla="*/ 460934 h 507788"/>
              <a:gd name="connsiteX47" fmla="*/ 1981042 w 2208308"/>
              <a:gd name="connsiteY47" fmla="*/ 459125 h 507788"/>
              <a:gd name="connsiteX48" fmla="*/ 1945800 w 2208308"/>
              <a:gd name="connsiteY48" fmla="*/ 458172 h 507788"/>
              <a:gd name="connsiteX49" fmla="*/ 1930465 w 2208308"/>
              <a:gd name="connsiteY49" fmla="*/ 456077 h 507788"/>
              <a:gd name="connsiteX50" fmla="*/ 1917892 w 2208308"/>
              <a:gd name="connsiteY50" fmla="*/ 462744 h 507788"/>
              <a:gd name="connsiteX51" fmla="*/ 1909605 w 2208308"/>
              <a:gd name="connsiteY51" fmla="*/ 463316 h 507788"/>
              <a:gd name="connsiteX52" fmla="*/ 1882649 w 2208308"/>
              <a:gd name="connsiteY52" fmla="*/ 465792 h 507788"/>
              <a:gd name="connsiteX53" fmla="*/ 1861599 w 2208308"/>
              <a:gd name="connsiteY53" fmla="*/ 463030 h 507788"/>
              <a:gd name="connsiteX54" fmla="*/ 1870457 w 2208308"/>
              <a:gd name="connsiteY54" fmla="*/ 471317 h 507788"/>
              <a:gd name="connsiteX55" fmla="*/ 1886459 w 2208308"/>
              <a:gd name="connsiteY55" fmla="*/ 481985 h 507788"/>
              <a:gd name="connsiteX56" fmla="*/ 1902461 w 2208308"/>
              <a:gd name="connsiteY56" fmla="*/ 482747 h 507788"/>
              <a:gd name="connsiteX57" fmla="*/ 1933513 w 2208308"/>
              <a:gd name="connsiteY57" fmla="*/ 483318 h 507788"/>
              <a:gd name="connsiteX58" fmla="*/ 1933513 w 2208308"/>
              <a:gd name="connsiteY58" fmla="*/ 492176 h 507788"/>
              <a:gd name="connsiteX59" fmla="*/ 1926083 w 2208308"/>
              <a:gd name="connsiteY59" fmla="*/ 498749 h 507788"/>
              <a:gd name="connsiteX60" fmla="*/ 1911129 w 2208308"/>
              <a:gd name="connsiteY60" fmla="*/ 502844 h 507788"/>
              <a:gd name="connsiteX61" fmla="*/ 1886459 w 2208308"/>
              <a:gd name="connsiteY61" fmla="*/ 505607 h 507788"/>
              <a:gd name="connsiteX62" fmla="*/ 1847978 w 2208308"/>
              <a:gd name="connsiteY62" fmla="*/ 503702 h 507788"/>
              <a:gd name="connsiteX63" fmla="*/ 1825118 w 2208308"/>
              <a:gd name="connsiteY63" fmla="*/ 496463 h 507788"/>
              <a:gd name="connsiteX64" fmla="*/ 1806925 w 2208308"/>
              <a:gd name="connsiteY64" fmla="*/ 489224 h 507788"/>
              <a:gd name="connsiteX65" fmla="*/ 1805306 w 2208308"/>
              <a:gd name="connsiteY65" fmla="*/ 486842 h 507788"/>
              <a:gd name="connsiteX66" fmla="*/ 1773969 w 2208308"/>
              <a:gd name="connsiteY66" fmla="*/ 490462 h 507788"/>
              <a:gd name="connsiteX67" fmla="*/ 1767873 w 2208308"/>
              <a:gd name="connsiteY67" fmla="*/ 489700 h 507788"/>
              <a:gd name="connsiteX68" fmla="*/ 1750061 w 2208308"/>
              <a:gd name="connsiteY68" fmla="*/ 494653 h 507788"/>
              <a:gd name="connsiteX69" fmla="*/ 1722058 w 2208308"/>
              <a:gd name="connsiteY69" fmla="*/ 492081 h 507788"/>
              <a:gd name="connsiteX70" fmla="*/ 1716533 w 2208308"/>
              <a:gd name="connsiteY70" fmla="*/ 490367 h 507788"/>
              <a:gd name="connsiteX71" fmla="*/ 1679386 w 2208308"/>
              <a:gd name="connsiteY71" fmla="*/ 486366 h 507788"/>
              <a:gd name="connsiteX72" fmla="*/ 1662431 w 2208308"/>
              <a:gd name="connsiteY72" fmla="*/ 497129 h 507788"/>
              <a:gd name="connsiteX73" fmla="*/ 1645477 w 2208308"/>
              <a:gd name="connsiteY73" fmla="*/ 497510 h 507788"/>
              <a:gd name="connsiteX74" fmla="*/ 1605948 w 2208308"/>
              <a:gd name="connsiteY74" fmla="*/ 490938 h 507788"/>
              <a:gd name="connsiteX75" fmla="*/ 1512603 w 2208308"/>
              <a:gd name="connsiteY75" fmla="*/ 489319 h 507788"/>
              <a:gd name="connsiteX76" fmla="*/ 1498411 w 2208308"/>
              <a:gd name="connsiteY76" fmla="*/ 490748 h 507788"/>
              <a:gd name="connsiteX77" fmla="*/ 1472979 w 2208308"/>
              <a:gd name="connsiteY77" fmla="*/ 491605 h 507788"/>
              <a:gd name="connsiteX78" fmla="*/ 1435450 w 2208308"/>
              <a:gd name="connsiteY78" fmla="*/ 491986 h 507788"/>
              <a:gd name="connsiteX79" fmla="*/ 1427068 w 2208308"/>
              <a:gd name="connsiteY79" fmla="*/ 493891 h 507788"/>
              <a:gd name="connsiteX80" fmla="*/ 1407733 w 2208308"/>
              <a:gd name="connsiteY80" fmla="*/ 500273 h 507788"/>
              <a:gd name="connsiteX81" fmla="*/ 1391731 w 2208308"/>
              <a:gd name="connsiteY81" fmla="*/ 486652 h 507788"/>
              <a:gd name="connsiteX82" fmla="*/ 1364965 w 2208308"/>
              <a:gd name="connsiteY82" fmla="*/ 494367 h 507788"/>
              <a:gd name="connsiteX83" fmla="*/ 1341058 w 2208308"/>
              <a:gd name="connsiteY83" fmla="*/ 502940 h 507788"/>
              <a:gd name="connsiteX84" fmla="*/ 1335628 w 2208308"/>
              <a:gd name="connsiteY84" fmla="*/ 500558 h 507788"/>
              <a:gd name="connsiteX85" fmla="*/ 1292480 w 2208308"/>
              <a:gd name="connsiteY85" fmla="*/ 494081 h 507788"/>
              <a:gd name="connsiteX86" fmla="*/ 939769 w 2208308"/>
              <a:gd name="connsiteY86" fmla="*/ 503606 h 507788"/>
              <a:gd name="connsiteX87" fmla="*/ 854330 w 2208308"/>
              <a:gd name="connsiteY87" fmla="*/ 499415 h 507788"/>
              <a:gd name="connsiteX88" fmla="*/ 590869 w 2208308"/>
              <a:gd name="connsiteY88" fmla="*/ 498939 h 507788"/>
              <a:gd name="connsiteX89" fmla="*/ 576867 w 2208308"/>
              <a:gd name="connsiteY89" fmla="*/ 501511 h 507788"/>
              <a:gd name="connsiteX90" fmla="*/ 559436 w 2208308"/>
              <a:gd name="connsiteY90" fmla="*/ 499225 h 507788"/>
              <a:gd name="connsiteX91" fmla="*/ 512287 w 2208308"/>
              <a:gd name="connsiteY91" fmla="*/ 499701 h 507788"/>
              <a:gd name="connsiteX92" fmla="*/ 459233 w 2208308"/>
              <a:gd name="connsiteY92" fmla="*/ 505797 h 507788"/>
              <a:gd name="connsiteX93" fmla="*/ 397321 w 2208308"/>
              <a:gd name="connsiteY93" fmla="*/ 499701 h 507788"/>
              <a:gd name="connsiteX94" fmla="*/ 359316 w 2208308"/>
              <a:gd name="connsiteY94" fmla="*/ 498844 h 507788"/>
              <a:gd name="connsiteX95" fmla="*/ 309310 w 2208308"/>
              <a:gd name="connsiteY95" fmla="*/ 494367 h 507788"/>
              <a:gd name="connsiteX96" fmla="*/ 291593 w 2208308"/>
              <a:gd name="connsiteY96" fmla="*/ 492272 h 507788"/>
              <a:gd name="connsiteX97" fmla="*/ 259780 w 2208308"/>
              <a:gd name="connsiteY97" fmla="*/ 493319 h 507788"/>
              <a:gd name="connsiteX98" fmla="*/ 197296 w 2208308"/>
              <a:gd name="connsiteY98" fmla="*/ 497415 h 507788"/>
              <a:gd name="connsiteX99" fmla="*/ 125668 w 2208308"/>
              <a:gd name="connsiteY99" fmla="*/ 498749 h 507788"/>
              <a:gd name="connsiteX100" fmla="*/ 99760 w 2208308"/>
              <a:gd name="connsiteY100" fmla="*/ 499130 h 507788"/>
              <a:gd name="connsiteX101" fmla="*/ 92521 w 2208308"/>
              <a:gd name="connsiteY101" fmla="*/ 503225 h 507788"/>
              <a:gd name="connsiteX102" fmla="*/ 78328 w 2208308"/>
              <a:gd name="connsiteY102" fmla="*/ 501701 h 507788"/>
              <a:gd name="connsiteX103" fmla="*/ 49944 w 2208308"/>
              <a:gd name="connsiteY103" fmla="*/ 503702 h 507788"/>
              <a:gd name="connsiteX104" fmla="*/ 40038 w 2208308"/>
              <a:gd name="connsiteY104" fmla="*/ 497796 h 507788"/>
              <a:gd name="connsiteX105" fmla="*/ 24131 w 2208308"/>
              <a:gd name="connsiteY105" fmla="*/ 483223 h 507788"/>
              <a:gd name="connsiteX106" fmla="*/ 20416 w 2208308"/>
              <a:gd name="connsiteY106" fmla="*/ 463030 h 507788"/>
              <a:gd name="connsiteX107" fmla="*/ 15178 w 2208308"/>
              <a:gd name="connsiteY107" fmla="*/ 449600 h 507788"/>
              <a:gd name="connsiteX108" fmla="*/ 5938 w 2208308"/>
              <a:gd name="connsiteY108" fmla="*/ 420548 h 507788"/>
              <a:gd name="connsiteX109" fmla="*/ 10415 w 2208308"/>
              <a:gd name="connsiteY109" fmla="*/ 397593 h 507788"/>
              <a:gd name="connsiteX110" fmla="*/ 20321 w 2208308"/>
              <a:gd name="connsiteY110" fmla="*/ 381496 h 507788"/>
              <a:gd name="connsiteX111" fmla="*/ 12225 w 2208308"/>
              <a:gd name="connsiteY111" fmla="*/ 347873 h 507788"/>
              <a:gd name="connsiteX112" fmla="*/ 6605 w 2208308"/>
              <a:gd name="connsiteY112" fmla="*/ 265862 h 507788"/>
              <a:gd name="connsiteX113" fmla="*/ 1271 w 2208308"/>
              <a:gd name="connsiteY113" fmla="*/ 225000 h 507788"/>
              <a:gd name="connsiteX114" fmla="*/ 12987 w 2208308"/>
              <a:gd name="connsiteY114" fmla="*/ 120416 h 507788"/>
              <a:gd name="connsiteX115" fmla="*/ 72042 w 2208308"/>
              <a:gd name="connsiteY115" fmla="*/ 83078 h 507788"/>
              <a:gd name="connsiteX116" fmla="*/ 116714 w 2208308"/>
              <a:gd name="connsiteY116" fmla="*/ 62123 h 507788"/>
              <a:gd name="connsiteX117" fmla="*/ 180436 w 2208308"/>
              <a:gd name="connsiteY117" fmla="*/ 58408 h 507788"/>
              <a:gd name="connsiteX118" fmla="*/ 233014 w 2208308"/>
              <a:gd name="connsiteY118" fmla="*/ 58979 h 507788"/>
              <a:gd name="connsiteX119" fmla="*/ 352744 w 2208308"/>
              <a:gd name="connsiteY119" fmla="*/ 59170 h 507788"/>
              <a:gd name="connsiteX120" fmla="*/ 392844 w 2208308"/>
              <a:gd name="connsiteY120" fmla="*/ 49169 h 507788"/>
              <a:gd name="connsiteX121" fmla="*/ 471616 w 2208308"/>
              <a:gd name="connsiteY121" fmla="*/ 51836 h 507788"/>
              <a:gd name="connsiteX122" fmla="*/ 486665 w 2208308"/>
              <a:gd name="connsiteY122" fmla="*/ 53264 h 507788"/>
              <a:gd name="connsiteX123" fmla="*/ 501524 w 2208308"/>
              <a:gd name="connsiteY123" fmla="*/ 53836 h 507788"/>
              <a:gd name="connsiteX124" fmla="*/ 538386 w 2208308"/>
              <a:gd name="connsiteY124" fmla="*/ 48883 h 507788"/>
              <a:gd name="connsiteX125" fmla="*/ 586011 w 2208308"/>
              <a:gd name="connsiteY125" fmla="*/ 40787 h 507788"/>
              <a:gd name="connsiteX126" fmla="*/ 594583 w 2208308"/>
              <a:gd name="connsiteY126" fmla="*/ 40120 h 507788"/>
              <a:gd name="connsiteX127" fmla="*/ 640494 w 2208308"/>
              <a:gd name="connsiteY127" fmla="*/ 32786 h 507788"/>
              <a:gd name="connsiteX128" fmla="*/ 647638 w 2208308"/>
              <a:gd name="connsiteY128" fmla="*/ 29261 h 507788"/>
              <a:gd name="connsiteX129" fmla="*/ 655353 w 2208308"/>
              <a:gd name="connsiteY129" fmla="*/ 26213 h 507788"/>
              <a:gd name="connsiteX130" fmla="*/ 714027 w 2208308"/>
              <a:gd name="connsiteY130" fmla="*/ 26023 h 507788"/>
              <a:gd name="connsiteX131" fmla="*/ 757366 w 2208308"/>
              <a:gd name="connsiteY131" fmla="*/ 22022 h 507788"/>
              <a:gd name="connsiteX132" fmla="*/ 783369 w 2208308"/>
              <a:gd name="connsiteY132" fmla="*/ 19165 h 507788"/>
              <a:gd name="connsiteX133" fmla="*/ 879667 w 2208308"/>
              <a:gd name="connsiteY133" fmla="*/ 15355 h 507788"/>
              <a:gd name="connsiteX134" fmla="*/ 888144 w 2208308"/>
              <a:gd name="connsiteY134" fmla="*/ 17450 h 507788"/>
              <a:gd name="connsiteX135" fmla="*/ 953485 w 2208308"/>
              <a:gd name="connsiteY135" fmla="*/ 17927 h 507788"/>
              <a:gd name="connsiteX136" fmla="*/ 995491 w 2208308"/>
              <a:gd name="connsiteY136" fmla="*/ 17927 h 507788"/>
              <a:gd name="connsiteX137" fmla="*/ 1001777 w 2208308"/>
              <a:gd name="connsiteY137" fmla="*/ 18308 h 507788"/>
              <a:gd name="connsiteX138" fmla="*/ 1009397 w 2208308"/>
              <a:gd name="connsiteY138" fmla="*/ 14307 h 507788"/>
              <a:gd name="connsiteX139" fmla="*/ 1061404 w 2208308"/>
              <a:gd name="connsiteY139" fmla="*/ 18498 h 507788"/>
              <a:gd name="connsiteX140" fmla="*/ 1072929 w 2208308"/>
              <a:gd name="connsiteY140" fmla="*/ 20308 h 507788"/>
              <a:gd name="connsiteX141" fmla="*/ 1114172 w 2208308"/>
              <a:gd name="connsiteY141" fmla="*/ 18974 h 507788"/>
              <a:gd name="connsiteX142" fmla="*/ 1116649 w 2208308"/>
              <a:gd name="connsiteY142" fmla="*/ 17546 h 507788"/>
              <a:gd name="connsiteX143" fmla="*/ 1187610 w 2208308"/>
              <a:gd name="connsiteY143" fmla="*/ 27547 h 507788"/>
              <a:gd name="connsiteX144" fmla="*/ 1197516 w 2208308"/>
              <a:gd name="connsiteY144" fmla="*/ 10688 h 507788"/>
              <a:gd name="connsiteX145" fmla="*/ 1203040 w 2208308"/>
              <a:gd name="connsiteY145" fmla="*/ 12974 h 507788"/>
              <a:gd name="connsiteX146" fmla="*/ 1214851 w 2208308"/>
              <a:gd name="connsiteY146" fmla="*/ 13831 h 507788"/>
              <a:gd name="connsiteX147" fmla="*/ 1221138 w 2208308"/>
              <a:gd name="connsiteY147" fmla="*/ 8306 h 507788"/>
              <a:gd name="connsiteX148" fmla="*/ 1232187 w 2208308"/>
              <a:gd name="connsiteY148" fmla="*/ 115 h 507788"/>
              <a:gd name="connsiteX149" fmla="*/ 1281526 w 2208308"/>
              <a:gd name="connsiteY149" fmla="*/ 3639 h 507788"/>
              <a:gd name="connsiteX150" fmla="*/ 1281526 w 2208308"/>
              <a:gd name="connsiteY150" fmla="*/ 3639 h 507788"/>
              <a:gd name="connsiteX151" fmla="*/ 1332961 w 2208308"/>
              <a:gd name="connsiteY151" fmla="*/ 11354 h 507788"/>
              <a:gd name="connsiteX152" fmla="*/ 1346773 w 2208308"/>
              <a:gd name="connsiteY152" fmla="*/ 8783 h 507788"/>
              <a:gd name="connsiteX153" fmla="*/ 1357536 w 2208308"/>
              <a:gd name="connsiteY153" fmla="*/ 9640 h 507788"/>
              <a:gd name="connsiteX154" fmla="*/ 1381825 w 2208308"/>
              <a:gd name="connsiteY154" fmla="*/ 15926 h 507788"/>
              <a:gd name="connsiteX155" fmla="*/ 1407447 w 2208308"/>
              <a:gd name="connsiteY155" fmla="*/ 19070 h 507788"/>
              <a:gd name="connsiteX156" fmla="*/ 1435546 w 2208308"/>
              <a:gd name="connsiteY156" fmla="*/ 23546 h 507788"/>
              <a:gd name="connsiteX157" fmla="*/ 1457263 w 2208308"/>
              <a:gd name="connsiteY157" fmla="*/ 41453 h 507788"/>
              <a:gd name="connsiteX158" fmla="*/ 1469931 w 2208308"/>
              <a:gd name="connsiteY158" fmla="*/ 47835 h 507788"/>
              <a:gd name="connsiteX159" fmla="*/ 1480027 w 2208308"/>
              <a:gd name="connsiteY159" fmla="*/ 45454 h 507788"/>
              <a:gd name="connsiteX160" fmla="*/ 1489838 w 2208308"/>
              <a:gd name="connsiteY160" fmla="*/ 40787 h 507788"/>
              <a:gd name="connsiteX161" fmla="*/ 1500887 w 2208308"/>
              <a:gd name="connsiteY161" fmla="*/ 39644 h 507788"/>
              <a:gd name="connsiteX162" fmla="*/ 1533177 w 2208308"/>
              <a:gd name="connsiteY162" fmla="*/ 34119 h 507788"/>
              <a:gd name="connsiteX163" fmla="*/ 1541368 w 2208308"/>
              <a:gd name="connsiteY163" fmla="*/ 36310 h 507788"/>
              <a:gd name="connsiteX164" fmla="*/ 1543273 w 2208308"/>
              <a:gd name="connsiteY164" fmla="*/ 43454 h 507788"/>
              <a:gd name="connsiteX165" fmla="*/ 1532510 w 2208308"/>
              <a:gd name="connsiteY165" fmla="*/ 52502 h 507788"/>
              <a:gd name="connsiteX166" fmla="*/ 1537177 w 2208308"/>
              <a:gd name="connsiteY166" fmla="*/ 64599 h 507788"/>
              <a:gd name="connsiteX167" fmla="*/ 1537558 w 2208308"/>
              <a:gd name="connsiteY167" fmla="*/ 64790 h 507788"/>
              <a:gd name="connsiteX168" fmla="*/ 1566419 w 2208308"/>
              <a:gd name="connsiteY168" fmla="*/ 61170 h 507788"/>
              <a:gd name="connsiteX169" fmla="*/ 1609948 w 2208308"/>
              <a:gd name="connsiteY169" fmla="*/ 40596 h 507788"/>
              <a:gd name="connsiteX170" fmla="*/ 1618521 w 2208308"/>
              <a:gd name="connsiteY170" fmla="*/ 42882 h 507788"/>
              <a:gd name="connsiteX171" fmla="*/ 1640809 w 2208308"/>
              <a:gd name="connsiteY171" fmla="*/ 37548 h 507788"/>
              <a:gd name="connsiteX172" fmla="*/ 1660431 w 2208308"/>
              <a:gd name="connsiteY172" fmla="*/ 36024 h 507788"/>
              <a:gd name="connsiteX173" fmla="*/ 1666146 w 2208308"/>
              <a:gd name="connsiteY173" fmla="*/ 42120 h 507788"/>
              <a:gd name="connsiteX174" fmla="*/ 1680433 w 2208308"/>
              <a:gd name="connsiteY174" fmla="*/ 51455 h 507788"/>
              <a:gd name="connsiteX175" fmla="*/ 1704913 w 2208308"/>
              <a:gd name="connsiteY175" fmla="*/ 55741 h 507788"/>
              <a:gd name="connsiteX176" fmla="*/ 1723677 w 2208308"/>
              <a:gd name="connsiteY176" fmla="*/ 59932 h 507788"/>
              <a:gd name="connsiteX177" fmla="*/ 1736917 w 2208308"/>
              <a:gd name="connsiteY177" fmla="*/ 56979 h 507788"/>
              <a:gd name="connsiteX178" fmla="*/ 1753776 w 2208308"/>
              <a:gd name="connsiteY178" fmla="*/ 58979 h 507788"/>
              <a:gd name="connsiteX179" fmla="*/ 1769683 w 2208308"/>
              <a:gd name="connsiteY179" fmla="*/ 52788 h 507788"/>
              <a:gd name="connsiteX180" fmla="*/ 1790161 w 2208308"/>
              <a:gd name="connsiteY180" fmla="*/ 68028 h 507788"/>
              <a:gd name="connsiteX181" fmla="*/ 1799972 w 2208308"/>
              <a:gd name="connsiteY181" fmla="*/ 83840 h 507788"/>
              <a:gd name="connsiteX182" fmla="*/ 1822546 w 2208308"/>
              <a:gd name="connsiteY182" fmla="*/ 84602 h 507788"/>
              <a:gd name="connsiteX183" fmla="*/ 1832643 w 2208308"/>
              <a:gd name="connsiteY183" fmla="*/ 80030 h 507788"/>
              <a:gd name="connsiteX184" fmla="*/ 1858837 w 2208308"/>
              <a:gd name="connsiteY184" fmla="*/ 83173 h 507788"/>
              <a:gd name="connsiteX185" fmla="*/ 1864456 w 2208308"/>
              <a:gd name="connsiteY185" fmla="*/ 83744 h 507788"/>
              <a:gd name="connsiteX186" fmla="*/ 1866361 w 2208308"/>
              <a:gd name="connsiteY186" fmla="*/ 81649 h 507788"/>
              <a:gd name="connsiteX187" fmla="*/ 1920273 w 2208308"/>
              <a:gd name="connsiteY187" fmla="*/ 95841 h 507788"/>
              <a:gd name="connsiteX188" fmla="*/ 1930655 w 2208308"/>
              <a:gd name="connsiteY188" fmla="*/ 101937 h 507788"/>
              <a:gd name="connsiteX189" fmla="*/ 1972279 w 2208308"/>
              <a:gd name="connsiteY189" fmla="*/ 132798 h 507788"/>
              <a:gd name="connsiteX190" fmla="*/ 1980280 w 2208308"/>
              <a:gd name="connsiteY190" fmla="*/ 122416 h 507788"/>
              <a:gd name="connsiteX191" fmla="*/ 2017142 w 2208308"/>
              <a:gd name="connsiteY191" fmla="*/ 135751 h 507788"/>
              <a:gd name="connsiteX192" fmla="*/ 2018571 w 2208308"/>
              <a:gd name="connsiteY192" fmla="*/ 144038 h 507788"/>
              <a:gd name="connsiteX193" fmla="*/ 2024381 w 2208308"/>
              <a:gd name="connsiteY193" fmla="*/ 144800 h 507788"/>
              <a:gd name="connsiteX194" fmla="*/ 2040955 w 2208308"/>
              <a:gd name="connsiteY194" fmla="*/ 133846 h 507788"/>
              <a:gd name="connsiteX195" fmla="*/ 2036859 w 2208308"/>
              <a:gd name="connsiteY195" fmla="*/ 124702 h 507788"/>
              <a:gd name="connsiteX196" fmla="*/ 2081912 w 2208308"/>
              <a:gd name="connsiteY196" fmla="*/ 122702 h 507788"/>
              <a:gd name="connsiteX197" fmla="*/ 2079150 w 2208308"/>
              <a:gd name="connsiteY197" fmla="*/ 129750 h 507788"/>
              <a:gd name="connsiteX198" fmla="*/ 2068101 w 2208308"/>
              <a:gd name="connsiteY198" fmla="*/ 130226 h 507788"/>
              <a:gd name="connsiteX199" fmla="*/ 2053528 w 2208308"/>
              <a:gd name="connsiteY199" fmla="*/ 138989 h 507788"/>
              <a:gd name="connsiteX200" fmla="*/ 2060195 w 2208308"/>
              <a:gd name="connsiteY200" fmla="*/ 143276 h 507788"/>
              <a:gd name="connsiteX201" fmla="*/ 2086389 w 2208308"/>
              <a:gd name="connsiteY201" fmla="*/ 144228 h 507788"/>
              <a:gd name="connsiteX202" fmla="*/ 2112297 w 2208308"/>
              <a:gd name="connsiteY202" fmla="*/ 149467 h 507788"/>
              <a:gd name="connsiteX203" fmla="*/ 2131347 w 2208308"/>
              <a:gd name="connsiteY203" fmla="*/ 161183 h 507788"/>
              <a:gd name="connsiteX204" fmla="*/ 2117345 w 2208308"/>
              <a:gd name="connsiteY204" fmla="*/ 161945 h 507788"/>
              <a:gd name="connsiteX205" fmla="*/ 2073625 w 2208308"/>
              <a:gd name="connsiteY205" fmla="*/ 155087 h 507788"/>
              <a:gd name="connsiteX206" fmla="*/ 2064291 w 2208308"/>
              <a:gd name="connsiteY206" fmla="*/ 161468 h 507788"/>
              <a:gd name="connsiteX207" fmla="*/ 2070673 w 2208308"/>
              <a:gd name="connsiteY207" fmla="*/ 165755 h 507788"/>
              <a:gd name="connsiteX208" fmla="*/ 2066672 w 2208308"/>
              <a:gd name="connsiteY208" fmla="*/ 167850 h 507788"/>
              <a:gd name="connsiteX209" fmla="*/ 2041526 w 2208308"/>
              <a:gd name="connsiteY209" fmla="*/ 174041 h 507788"/>
              <a:gd name="connsiteX210" fmla="*/ 2019904 w 2208308"/>
              <a:gd name="connsiteY210" fmla="*/ 172517 h 507788"/>
              <a:gd name="connsiteX211" fmla="*/ 2007903 w 2208308"/>
              <a:gd name="connsiteY211" fmla="*/ 173565 h 507788"/>
              <a:gd name="connsiteX212" fmla="*/ 2010189 w 2208308"/>
              <a:gd name="connsiteY212" fmla="*/ 180995 h 507788"/>
              <a:gd name="connsiteX213" fmla="*/ 2006188 w 2208308"/>
              <a:gd name="connsiteY213" fmla="*/ 187186 h 507788"/>
              <a:gd name="connsiteX214" fmla="*/ 1996568 w 2208308"/>
              <a:gd name="connsiteY214" fmla="*/ 188329 h 507788"/>
              <a:gd name="connsiteX215" fmla="*/ 2012284 w 2208308"/>
              <a:gd name="connsiteY215" fmla="*/ 191472 h 507788"/>
              <a:gd name="connsiteX216" fmla="*/ 2018571 w 2208308"/>
              <a:gd name="connsiteY216" fmla="*/ 191853 h 507788"/>
              <a:gd name="connsiteX217" fmla="*/ 2024572 w 2208308"/>
              <a:gd name="connsiteY217" fmla="*/ 192520 h 507788"/>
              <a:gd name="connsiteX218" fmla="*/ 2047717 w 2208308"/>
              <a:gd name="connsiteY218" fmla="*/ 195187 h 507788"/>
              <a:gd name="connsiteX219" fmla="*/ 2064196 w 2208308"/>
              <a:gd name="connsiteY219" fmla="*/ 202426 h 507788"/>
              <a:gd name="connsiteX220" fmla="*/ 2066482 w 2208308"/>
              <a:gd name="connsiteY220" fmla="*/ 203759 h 507788"/>
              <a:gd name="connsiteX221" fmla="*/ 2098486 w 2208308"/>
              <a:gd name="connsiteY221" fmla="*/ 211951 h 507788"/>
              <a:gd name="connsiteX222" fmla="*/ 2117821 w 2208308"/>
              <a:gd name="connsiteY222" fmla="*/ 217380 h 507788"/>
              <a:gd name="connsiteX223" fmla="*/ 2120203 w 2208308"/>
              <a:gd name="connsiteY223" fmla="*/ 222143 h 507788"/>
              <a:gd name="connsiteX224" fmla="*/ 2118107 w 2208308"/>
              <a:gd name="connsiteY224" fmla="*/ 223667 h 507788"/>
              <a:gd name="connsiteX225" fmla="*/ 2076102 w 2208308"/>
              <a:gd name="connsiteY225" fmla="*/ 216713 h 507788"/>
              <a:gd name="connsiteX226" fmla="*/ 2075435 w 2208308"/>
              <a:gd name="connsiteY226" fmla="*/ 216713 h 507788"/>
              <a:gd name="connsiteX227" fmla="*/ 2104486 w 2208308"/>
              <a:gd name="connsiteY227" fmla="*/ 231858 h 507788"/>
              <a:gd name="connsiteX228" fmla="*/ 2129537 w 2208308"/>
              <a:gd name="connsiteY228" fmla="*/ 243479 h 507788"/>
              <a:gd name="connsiteX229" fmla="*/ 2134776 w 2208308"/>
              <a:gd name="connsiteY229" fmla="*/ 246717 h 507788"/>
              <a:gd name="connsiteX230" fmla="*/ 2123060 w 2208308"/>
              <a:gd name="connsiteY230" fmla="*/ 248717 h 507788"/>
              <a:gd name="connsiteX231" fmla="*/ 2088865 w 2208308"/>
              <a:gd name="connsiteY231" fmla="*/ 240240 h 507788"/>
              <a:gd name="connsiteX232" fmla="*/ 2052385 w 2208308"/>
              <a:gd name="connsiteY232" fmla="*/ 231953 h 507788"/>
              <a:gd name="connsiteX233" fmla="*/ 2032001 w 2208308"/>
              <a:gd name="connsiteY233" fmla="*/ 229286 h 507788"/>
              <a:gd name="connsiteX234" fmla="*/ 2015047 w 2208308"/>
              <a:gd name="connsiteY234" fmla="*/ 221381 h 507788"/>
              <a:gd name="connsiteX235" fmla="*/ 2007903 w 2208308"/>
              <a:gd name="connsiteY235" fmla="*/ 223571 h 507788"/>
              <a:gd name="connsiteX236" fmla="*/ 1977994 w 2208308"/>
              <a:gd name="connsiteY236" fmla="*/ 221095 h 507788"/>
              <a:gd name="connsiteX237" fmla="*/ 1977994 w 2208308"/>
              <a:gd name="connsiteY237" fmla="*/ 221095 h 507788"/>
              <a:gd name="connsiteX238" fmla="*/ 1970565 w 2208308"/>
              <a:gd name="connsiteY238" fmla="*/ 224714 h 507788"/>
              <a:gd name="connsiteX239" fmla="*/ 1979328 w 2208308"/>
              <a:gd name="connsiteY239" fmla="*/ 234335 h 507788"/>
              <a:gd name="connsiteX240" fmla="*/ 2006665 w 2208308"/>
              <a:gd name="connsiteY240" fmla="*/ 248432 h 507788"/>
              <a:gd name="connsiteX241" fmla="*/ 2017142 w 2208308"/>
              <a:gd name="connsiteY241" fmla="*/ 249575 h 507788"/>
              <a:gd name="connsiteX242" fmla="*/ 2021238 w 2208308"/>
              <a:gd name="connsiteY242" fmla="*/ 257290 h 507788"/>
              <a:gd name="connsiteX243" fmla="*/ 2036287 w 2208308"/>
              <a:gd name="connsiteY243" fmla="*/ 260052 h 507788"/>
              <a:gd name="connsiteX244" fmla="*/ 2055623 w 2208308"/>
              <a:gd name="connsiteY244" fmla="*/ 284341 h 507788"/>
              <a:gd name="connsiteX245" fmla="*/ 2075721 w 2208308"/>
              <a:gd name="connsiteY245" fmla="*/ 291008 h 507788"/>
              <a:gd name="connsiteX246" fmla="*/ 2092580 w 2208308"/>
              <a:gd name="connsiteY246" fmla="*/ 318440 h 507788"/>
              <a:gd name="connsiteX247" fmla="*/ 2110773 w 2208308"/>
              <a:gd name="connsiteY247" fmla="*/ 324727 h 507788"/>
              <a:gd name="connsiteX248" fmla="*/ 2121250 w 2208308"/>
              <a:gd name="connsiteY248" fmla="*/ 329299 h 507788"/>
              <a:gd name="connsiteX249" fmla="*/ 2150302 w 2208308"/>
              <a:gd name="connsiteY249" fmla="*/ 333871 h 507788"/>
              <a:gd name="connsiteX250" fmla="*/ 2171447 w 2208308"/>
              <a:gd name="connsiteY250" fmla="*/ 351397 h 507788"/>
              <a:gd name="connsiteX251" fmla="*/ 2168113 w 2208308"/>
              <a:gd name="connsiteY251" fmla="*/ 353207 h 507788"/>
              <a:gd name="connsiteX252" fmla="*/ 2133823 w 2208308"/>
              <a:gd name="connsiteY252" fmla="*/ 354445 h 507788"/>
              <a:gd name="connsiteX253" fmla="*/ 2124775 w 2208308"/>
              <a:gd name="connsiteY253" fmla="*/ 348254 h 507788"/>
              <a:gd name="connsiteX254" fmla="*/ 2116583 w 2208308"/>
              <a:gd name="connsiteY254" fmla="*/ 351016 h 507788"/>
              <a:gd name="connsiteX255" fmla="*/ 2107534 w 2208308"/>
              <a:gd name="connsiteY255" fmla="*/ 346158 h 507788"/>
              <a:gd name="connsiteX256" fmla="*/ 2097533 w 2208308"/>
              <a:gd name="connsiteY256" fmla="*/ 344539 h 507788"/>
              <a:gd name="connsiteX257" fmla="*/ 2086579 w 2208308"/>
              <a:gd name="connsiteY257" fmla="*/ 339681 h 507788"/>
              <a:gd name="connsiteX258" fmla="*/ 2060671 w 2208308"/>
              <a:gd name="connsiteY258" fmla="*/ 327870 h 507788"/>
              <a:gd name="connsiteX259" fmla="*/ 2062862 w 2208308"/>
              <a:gd name="connsiteY259" fmla="*/ 336157 h 507788"/>
              <a:gd name="connsiteX260" fmla="*/ 2043431 w 2208308"/>
              <a:gd name="connsiteY260" fmla="*/ 335966 h 507788"/>
              <a:gd name="connsiteX261" fmla="*/ 2030001 w 2208308"/>
              <a:gd name="connsiteY261" fmla="*/ 335204 h 507788"/>
              <a:gd name="connsiteX262" fmla="*/ 2045241 w 2208308"/>
              <a:gd name="connsiteY262" fmla="*/ 348920 h 507788"/>
              <a:gd name="connsiteX263" fmla="*/ 2057814 w 2208308"/>
              <a:gd name="connsiteY263" fmla="*/ 358636 h 507788"/>
              <a:gd name="connsiteX264" fmla="*/ 2071149 w 2208308"/>
              <a:gd name="connsiteY264" fmla="*/ 363017 h 507788"/>
              <a:gd name="connsiteX265" fmla="*/ 2086484 w 2208308"/>
              <a:gd name="connsiteY265" fmla="*/ 363779 h 507788"/>
              <a:gd name="connsiteX266" fmla="*/ 2091818 w 2208308"/>
              <a:gd name="connsiteY266" fmla="*/ 365875 h 507788"/>
              <a:gd name="connsiteX267" fmla="*/ 2110011 w 2208308"/>
              <a:gd name="connsiteY267" fmla="*/ 370161 h 507788"/>
              <a:gd name="connsiteX268" fmla="*/ 2130680 w 2208308"/>
              <a:gd name="connsiteY268" fmla="*/ 376257 h 507788"/>
              <a:gd name="connsiteX269" fmla="*/ 2152873 w 2208308"/>
              <a:gd name="connsiteY269" fmla="*/ 387211 h 507788"/>
              <a:gd name="connsiteX270" fmla="*/ 2174305 w 2208308"/>
              <a:gd name="connsiteY270" fmla="*/ 400451 h 507788"/>
              <a:gd name="connsiteX271" fmla="*/ 2162494 w 2208308"/>
              <a:gd name="connsiteY271" fmla="*/ 403213 h 507788"/>
              <a:gd name="connsiteX272" fmla="*/ 2144872 w 2208308"/>
              <a:gd name="connsiteY272" fmla="*/ 398450 h 507788"/>
              <a:gd name="connsiteX273" fmla="*/ 2126584 w 2208308"/>
              <a:gd name="connsiteY273" fmla="*/ 400641 h 507788"/>
              <a:gd name="connsiteX274" fmla="*/ 2134681 w 2208308"/>
              <a:gd name="connsiteY274" fmla="*/ 407594 h 507788"/>
              <a:gd name="connsiteX275" fmla="*/ 2145253 w 2208308"/>
              <a:gd name="connsiteY275" fmla="*/ 413024 h 507788"/>
              <a:gd name="connsiteX276" fmla="*/ 2154112 w 2208308"/>
              <a:gd name="connsiteY276" fmla="*/ 417881 h 507788"/>
              <a:gd name="connsiteX277" fmla="*/ 2163065 w 2208308"/>
              <a:gd name="connsiteY277" fmla="*/ 418453 h 507788"/>
              <a:gd name="connsiteX278" fmla="*/ 2181448 w 2208308"/>
              <a:gd name="connsiteY278" fmla="*/ 428930 h 507788"/>
              <a:gd name="connsiteX279" fmla="*/ 2208309 w 2208308"/>
              <a:gd name="connsiteY279" fmla="*/ 442170 h 507788"/>
              <a:gd name="connsiteX280" fmla="*/ 2182020 w 2208308"/>
              <a:gd name="connsiteY280" fmla="*/ 441789 h 507788"/>
              <a:gd name="connsiteX281" fmla="*/ 2168304 w 2208308"/>
              <a:gd name="connsiteY281" fmla="*/ 438836 h 507788"/>
              <a:gd name="connsiteX282" fmla="*/ 2156017 w 2208308"/>
              <a:gd name="connsiteY282" fmla="*/ 433407 h 507788"/>
              <a:gd name="connsiteX283" fmla="*/ 2126108 w 2208308"/>
              <a:gd name="connsiteY283" fmla="*/ 425501 h 507788"/>
              <a:gd name="connsiteX284" fmla="*/ 2108487 w 2208308"/>
              <a:gd name="connsiteY284" fmla="*/ 429311 h 507788"/>
              <a:gd name="connsiteX285" fmla="*/ 2052670 w 2208308"/>
              <a:gd name="connsiteY285" fmla="*/ 493034 h 507788"/>
              <a:gd name="connsiteX286" fmla="*/ 2084865 w 2208308"/>
              <a:gd name="connsiteY286" fmla="*/ 496558 h 507788"/>
              <a:gd name="connsiteX287" fmla="*/ 2042669 w 2208308"/>
              <a:gd name="connsiteY287" fmla="*/ 505607 h 507788"/>
              <a:gd name="connsiteX288" fmla="*/ 2019047 w 2208308"/>
              <a:gd name="connsiteY288" fmla="*/ 501701 h 507788"/>
              <a:gd name="connsiteX289" fmla="*/ 2004379 w 2208308"/>
              <a:gd name="connsiteY289" fmla="*/ 503702 h 507788"/>
              <a:gd name="connsiteX290" fmla="*/ 1979518 w 2208308"/>
              <a:gd name="connsiteY290" fmla="*/ 505416 h 507788"/>
              <a:gd name="connsiteX291" fmla="*/ 1965517 w 2208308"/>
              <a:gd name="connsiteY291" fmla="*/ 505702 h 507788"/>
              <a:gd name="connsiteX292" fmla="*/ 1942752 w 2208308"/>
              <a:gd name="connsiteY292" fmla="*/ 502082 h 507788"/>
              <a:gd name="connsiteX293" fmla="*/ 1936656 w 2208308"/>
              <a:gd name="connsiteY293" fmla="*/ 497320 h 507788"/>
              <a:gd name="connsiteX294" fmla="*/ 1941514 w 2208308"/>
              <a:gd name="connsiteY294" fmla="*/ 491414 h 507788"/>
              <a:gd name="connsiteX295" fmla="*/ 1973327 w 2208308"/>
              <a:gd name="connsiteY295" fmla="*/ 491033 h 507788"/>
              <a:gd name="connsiteX296" fmla="*/ 1982090 w 2208308"/>
              <a:gd name="connsiteY296" fmla="*/ 493510 h 507788"/>
              <a:gd name="connsiteX297" fmla="*/ 1994092 w 2208308"/>
              <a:gd name="connsiteY297" fmla="*/ 491986 h 507788"/>
              <a:gd name="connsiteX298" fmla="*/ 2025619 w 2208308"/>
              <a:gd name="connsiteY298" fmla="*/ 488271 h 507788"/>
              <a:gd name="connsiteX299" fmla="*/ 2052766 w 2208308"/>
              <a:gd name="connsiteY299" fmla="*/ 493129 h 507788"/>
              <a:gd name="connsiteX300" fmla="*/ 1926178 w 2208308"/>
              <a:gd name="connsiteY300" fmla="*/ 473222 h 507788"/>
              <a:gd name="connsiteX301" fmla="*/ 1936751 w 2208308"/>
              <a:gd name="connsiteY301" fmla="*/ 466649 h 507788"/>
              <a:gd name="connsiteX302" fmla="*/ 1948086 w 2208308"/>
              <a:gd name="connsiteY302" fmla="*/ 475508 h 507788"/>
              <a:gd name="connsiteX303" fmla="*/ 1926274 w 2208308"/>
              <a:gd name="connsiteY303" fmla="*/ 473126 h 507788"/>
              <a:gd name="connsiteX304" fmla="*/ 1973422 w 2208308"/>
              <a:gd name="connsiteY304" fmla="*/ 484461 h 507788"/>
              <a:gd name="connsiteX305" fmla="*/ 1956754 w 2208308"/>
              <a:gd name="connsiteY305" fmla="*/ 476651 h 507788"/>
              <a:gd name="connsiteX306" fmla="*/ 1977804 w 2208308"/>
              <a:gd name="connsiteY306" fmla="*/ 474460 h 507788"/>
              <a:gd name="connsiteX307" fmla="*/ 2021905 w 2208308"/>
              <a:gd name="connsiteY307" fmla="*/ 479413 h 507788"/>
              <a:gd name="connsiteX308" fmla="*/ 1973422 w 2208308"/>
              <a:gd name="connsiteY308" fmla="*/ 484461 h 507788"/>
              <a:gd name="connsiteX309" fmla="*/ 2091818 w 2208308"/>
              <a:gd name="connsiteY309" fmla="*/ 473984 h 507788"/>
              <a:gd name="connsiteX310" fmla="*/ 2079436 w 2208308"/>
              <a:gd name="connsiteY310" fmla="*/ 474174 h 507788"/>
              <a:gd name="connsiteX311" fmla="*/ 2074292 w 2208308"/>
              <a:gd name="connsiteY311" fmla="*/ 460744 h 507788"/>
              <a:gd name="connsiteX312" fmla="*/ 2091818 w 2208308"/>
              <a:gd name="connsiteY312" fmla="*/ 473984 h 5077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</a:cxnLst>
            <a:rect l="l" t="t" r="r" b="b"/>
            <a:pathLst>
              <a:path w="2208308" h="507788">
                <a:moveTo>
                  <a:pt x="2050099" y="263195"/>
                </a:moveTo>
                <a:cubicBezTo>
                  <a:pt x="2049146" y="259481"/>
                  <a:pt x="2052289" y="255194"/>
                  <a:pt x="2056195" y="254813"/>
                </a:cubicBezTo>
                <a:cubicBezTo>
                  <a:pt x="2060100" y="254432"/>
                  <a:pt x="2064005" y="254813"/>
                  <a:pt x="2067910" y="255004"/>
                </a:cubicBezTo>
                <a:cubicBezTo>
                  <a:pt x="2070387" y="252432"/>
                  <a:pt x="2072768" y="249670"/>
                  <a:pt x="2075530" y="247479"/>
                </a:cubicBezTo>
                <a:cubicBezTo>
                  <a:pt x="2076483" y="246812"/>
                  <a:pt x="2079150" y="247479"/>
                  <a:pt x="2080293" y="248336"/>
                </a:cubicBezTo>
                <a:cubicBezTo>
                  <a:pt x="2081436" y="249289"/>
                  <a:pt x="2099248" y="261195"/>
                  <a:pt x="2099057" y="262719"/>
                </a:cubicBezTo>
                <a:lnTo>
                  <a:pt x="2099057" y="264910"/>
                </a:lnTo>
                <a:cubicBezTo>
                  <a:pt x="2103343" y="265481"/>
                  <a:pt x="2105915" y="268053"/>
                  <a:pt x="2107820" y="271577"/>
                </a:cubicBezTo>
                <a:cubicBezTo>
                  <a:pt x="2113535" y="272625"/>
                  <a:pt x="2119250" y="273482"/>
                  <a:pt x="2124870" y="274625"/>
                </a:cubicBezTo>
                <a:cubicBezTo>
                  <a:pt x="2127156" y="275102"/>
                  <a:pt x="2129347" y="280721"/>
                  <a:pt x="2127823" y="281674"/>
                </a:cubicBezTo>
                <a:cubicBezTo>
                  <a:pt x="2126299" y="282626"/>
                  <a:pt x="2123917" y="283960"/>
                  <a:pt x="2122870" y="283388"/>
                </a:cubicBezTo>
                <a:cubicBezTo>
                  <a:pt x="2112392" y="277673"/>
                  <a:pt x="2100867" y="276911"/>
                  <a:pt x="2089437" y="275483"/>
                </a:cubicBezTo>
                <a:cubicBezTo>
                  <a:pt x="2077816" y="273768"/>
                  <a:pt x="2066005" y="272435"/>
                  <a:pt x="2054480" y="270149"/>
                </a:cubicBezTo>
                <a:cubicBezTo>
                  <a:pt x="2052575" y="269768"/>
                  <a:pt x="2050765" y="265862"/>
                  <a:pt x="2050099" y="263291"/>
                </a:cubicBezTo>
                <a:close/>
                <a:moveTo>
                  <a:pt x="2164589" y="284722"/>
                </a:moveTo>
                <a:cubicBezTo>
                  <a:pt x="2141348" y="278626"/>
                  <a:pt x="2141348" y="278816"/>
                  <a:pt x="2131633" y="282531"/>
                </a:cubicBezTo>
                <a:cubicBezTo>
                  <a:pt x="2135824" y="285960"/>
                  <a:pt x="2140777" y="285579"/>
                  <a:pt x="2145444" y="286055"/>
                </a:cubicBezTo>
                <a:cubicBezTo>
                  <a:pt x="2150968" y="286532"/>
                  <a:pt x="2156588" y="288913"/>
                  <a:pt x="2164589" y="284722"/>
                </a:cubicBezTo>
                <a:close/>
                <a:moveTo>
                  <a:pt x="2059338" y="175565"/>
                </a:moveTo>
                <a:cubicBezTo>
                  <a:pt x="2054766" y="178709"/>
                  <a:pt x="2050861" y="182995"/>
                  <a:pt x="2046193" y="187186"/>
                </a:cubicBezTo>
                <a:cubicBezTo>
                  <a:pt x="2073340" y="193758"/>
                  <a:pt x="2081531" y="194520"/>
                  <a:pt x="2096009" y="191948"/>
                </a:cubicBezTo>
                <a:cubicBezTo>
                  <a:pt x="2091723" y="186805"/>
                  <a:pt x="2084770" y="189567"/>
                  <a:pt x="2080102" y="186519"/>
                </a:cubicBezTo>
                <a:cubicBezTo>
                  <a:pt x="2075435" y="183376"/>
                  <a:pt x="2072006" y="178518"/>
                  <a:pt x="2067434" y="175375"/>
                </a:cubicBezTo>
                <a:cubicBezTo>
                  <a:pt x="2065529" y="174137"/>
                  <a:pt x="2061338" y="174232"/>
                  <a:pt x="2059338" y="175565"/>
                </a:cubicBezTo>
                <a:close/>
                <a:moveTo>
                  <a:pt x="2109154" y="429502"/>
                </a:moveTo>
                <a:cubicBezTo>
                  <a:pt x="2124203" y="429597"/>
                  <a:pt x="2125346" y="429216"/>
                  <a:pt x="2138300" y="435979"/>
                </a:cubicBezTo>
                <a:cubicBezTo>
                  <a:pt x="2140777" y="446266"/>
                  <a:pt x="2161541" y="445504"/>
                  <a:pt x="2164589" y="453505"/>
                </a:cubicBezTo>
                <a:cubicBezTo>
                  <a:pt x="2165637" y="456267"/>
                  <a:pt x="2187640" y="460934"/>
                  <a:pt x="2187163" y="463506"/>
                </a:cubicBezTo>
                <a:cubicBezTo>
                  <a:pt x="2186687" y="465697"/>
                  <a:pt x="2158588" y="462649"/>
                  <a:pt x="2149349" y="460934"/>
                </a:cubicBezTo>
                <a:cubicBezTo>
                  <a:pt x="2148587" y="460839"/>
                  <a:pt x="2147254" y="461220"/>
                  <a:pt x="2146492" y="460744"/>
                </a:cubicBezTo>
                <a:cubicBezTo>
                  <a:pt x="2127823" y="450266"/>
                  <a:pt x="2126394" y="456267"/>
                  <a:pt x="2106201" y="453124"/>
                </a:cubicBezTo>
                <a:cubicBezTo>
                  <a:pt x="2101153" y="452362"/>
                  <a:pt x="2074673" y="446266"/>
                  <a:pt x="2072292" y="441313"/>
                </a:cubicBezTo>
                <a:cubicBezTo>
                  <a:pt x="2068387" y="440837"/>
                  <a:pt x="2069244" y="441122"/>
                  <a:pt x="2065339" y="440646"/>
                </a:cubicBezTo>
                <a:cubicBezTo>
                  <a:pt x="2063338" y="440360"/>
                  <a:pt x="2058004" y="441313"/>
                  <a:pt x="2056004" y="441122"/>
                </a:cubicBezTo>
                <a:lnTo>
                  <a:pt x="2042955" y="437693"/>
                </a:lnTo>
                <a:cubicBezTo>
                  <a:pt x="2036573" y="436550"/>
                  <a:pt x="2029048" y="437979"/>
                  <a:pt x="2025905" y="429788"/>
                </a:cubicBezTo>
                <a:cubicBezTo>
                  <a:pt x="2025905" y="429788"/>
                  <a:pt x="2023524" y="426073"/>
                  <a:pt x="2022571" y="427787"/>
                </a:cubicBezTo>
                <a:cubicBezTo>
                  <a:pt x="2021619" y="429502"/>
                  <a:pt x="2021809" y="431978"/>
                  <a:pt x="2022381" y="437789"/>
                </a:cubicBezTo>
                <a:cubicBezTo>
                  <a:pt x="2022952" y="443599"/>
                  <a:pt x="2023905" y="443123"/>
                  <a:pt x="2028286" y="451314"/>
                </a:cubicBezTo>
                <a:cubicBezTo>
                  <a:pt x="2032763" y="459506"/>
                  <a:pt x="2050194" y="458458"/>
                  <a:pt x="2050194" y="458458"/>
                </a:cubicBezTo>
                <a:cubicBezTo>
                  <a:pt x="2055528" y="459791"/>
                  <a:pt x="2060957" y="461030"/>
                  <a:pt x="2066101" y="463030"/>
                </a:cubicBezTo>
                <a:cubicBezTo>
                  <a:pt x="2068291" y="463887"/>
                  <a:pt x="2071816" y="465316"/>
                  <a:pt x="2069530" y="470555"/>
                </a:cubicBezTo>
                <a:lnTo>
                  <a:pt x="2062862" y="471888"/>
                </a:lnTo>
                <a:cubicBezTo>
                  <a:pt x="2051242" y="474079"/>
                  <a:pt x="2052289" y="470269"/>
                  <a:pt x="2047051" y="470555"/>
                </a:cubicBezTo>
                <a:cubicBezTo>
                  <a:pt x="2043241" y="470745"/>
                  <a:pt x="2039431" y="470745"/>
                  <a:pt x="2035621" y="470555"/>
                </a:cubicBezTo>
                <a:cubicBezTo>
                  <a:pt x="2032573" y="470364"/>
                  <a:pt x="2008855" y="461696"/>
                  <a:pt x="2008474" y="458553"/>
                </a:cubicBezTo>
                <a:cubicBezTo>
                  <a:pt x="2007808" y="452743"/>
                  <a:pt x="1999330" y="464744"/>
                  <a:pt x="1994092" y="460934"/>
                </a:cubicBezTo>
                <a:lnTo>
                  <a:pt x="1981042" y="459125"/>
                </a:lnTo>
                <a:cubicBezTo>
                  <a:pt x="1967041" y="442361"/>
                  <a:pt x="1954944" y="461030"/>
                  <a:pt x="1945800" y="458172"/>
                </a:cubicBezTo>
                <a:cubicBezTo>
                  <a:pt x="1945800" y="458172"/>
                  <a:pt x="1947895" y="454172"/>
                  <a:pt x="1930465" y="456077"/>
                </a:cubicBezTo>
                <a:cubicBezTo>
                  <a:pt x="1913034" y="457982"/>
                  <a:pt x="1921606" y="459506"/>
                  <a:pt x="1917892" y="462744"/>
                </a:cubicBezTo>
                <a:cubicBezTo>
                  <a:pt x="1914272" y="465983"/>
                  <a:pt x="1911319" y="464554"/>
                  <a:pt x="1909605" y="463316"/>
                </a:cubicBezTo>
                <a:cubicBezTo>
                  <a:pt x="1899032" y="455505"/>
                  <a:pt x="1892365" y="459029"/>
                  <a:pt x="1882649" y="465792"/>
                </a:cubicBezTo>
                <a:cubicBezTo>
                  <a:pt x="1873410" y="472174"/>
                  <a:pt x="1873600" y="462458"/>
                  <a:pt x="1861599" y="463030"/>
                </a:cubicBezTo>
                <a:cubicBezTo>
                  <a:pt x="1859884" y="468840"/>
                  <a:pt x="1869886" y="466840"/>
                  <a:pt x="1870457" y="471317"/>
                </a:cubicBezTo>
                <a:lnTo>
                  <a:pt x="1886459" y="481985"/>
                </a:lnTo>
                <a:lnTo>
                  <a:pt x="1902461" y="482747"/>
                </a:lnTo>
                <a:cubicBezTo>
                  <a:pt x="1914844" y="485414"/>
                  <a:pt x="1921225" y="485318"/>
                  <a:pt x="1933513" y="483318"/>
                </a:cubicBezTo>
                <a:cubicBezTo>
                  <a:pt x="1937418" y="482651"/>
                  <a:pt x="1938561" y="488081"/>
                  <a:pt x="1933513" y="492176"/>
                </a:cubicBezTo>
                <a:cubicBezTo>
                  <a:pt x="1933989" y="492748"/>
                  <a:pt x="1927131" y="498463"/>
                  <a:pt x="1926083" y="498749"/>
                </a:cubicBezTo>
                <a:cubicBezTo>
                  <a:pt x="1919701" y="500654"/>
                  <a:pt x="1916939" y="498749"/>
                  <a:pt x="1911129" y="502844"/>
                </a:cubicBezTo>
                <a:cubicBezTo>
                  <a:pt x="1904461" y="507607"/>
                  <a:pt x="1895508" y="509702"/>
                  <a:pt x="1886459" y="505607"/>
                </a:cubicBezTo>
                <a:lnTo>
                  <a:pt x="1847978" y="503702"/>
                </a:lnTo>
                <a:cubicBezTo>
                  <a:pt x="1840930" y="501320"/>
                  <a:pt x="1831690" y="500273"/>
                  <a:pt x="1825118" y="496463"/>
                </a:cubicBezTo>
                <a:cubicBezTo>
                  <a:pt x="1819403" y="493129"/>
                  <a:pt x="1811593" y="495129"/>
                  <a:pt x="1806925" y="489224"/>
                </a:cubicBezTo>
                <a:cubicBezTo>
                  <a:pt x="1806354" y="488462"/>
                  <a:pt x="1805878" y="487604"/>
                  <a:pt x="1805306" y="486842"/>
                </a:cubicBezTo>
                <a:cubicBezTo>
                  <a:pt x="1801210" y="488081"/>
                  <a:pt x="1778065" y="489224"/>
                  <a:pt x="1773969" y="490462"/>
                </a:cubicBezTo>
                <a:cubicBezTo>
                  <a:pt x="1771969" y="490176"/>
                  <a:pt x="1769968" y="489986"/>
                  <a:pt x="1767873" y="489700"/>
                </a:cubicBezTo>
                <a:cubicBezTo>
                  <a:pt x="1761777" y="490748"/>
                  <a:pt x="1756824" y="495986"/>
                  <a:pt x="1750061" y="494653"/>
                </a:cubicBezTo>
                <a:cubicBezTo>
                  <a:pt x="1740536" y="496177"/>
                  <a:pt x="1731202" y="495224"/>
                  <a:pt x="1722058" y="492081"/>
                </a:cubicBezTo>
                <a:cubicBezTo>
                  <a:pt x="1720153" y="491414"/>
                  <a:pt x="1717867" y="489795"/>
                  <a:pt x="1716533" y="490367"/>
                </a:cubicBezTo>
                <a:cubicBezTo>
                  <a:pt x="1703389" y="495701"/>
                  <a:pt x="1691959" y="486176"/>
                  <a:pt x="1679386" y="486366"/>
                </a:cubicBezTo>
                <a:cubicBezTo>
                  <a:pt x="1674623" y="491319"/>
                  <a:pt x="1668908" y="494653"/>
                  <a:pt x="1662431" y="497129"/>
                </a:cubicBezTo>
                <a:cubicBezTo>
                  <a:pt x="1656716" y="499320"/>
                  <a:pt x="1650906" y="499892"/>
                  <a:pt x="1645477" y="497510"/>
                </a:cubicBezTo>
                <a:cubicBezTo>
                  <a:pt x="1632808" y="491795"/>
                  <a:pt x="1619664" y="490557"/>
                  <a:pt x="1605948" y="490938"/>
                </a:cubicBezTo>
                <a:lnTo>
                  <a:pt x="1512603" y="489319"/>
                </a:lnTo>
                <a:cubicBezTo>
                  <a:pt x="1508126" y="488366"/>
                  <a:pt x="1502983" y="489509"/>
                  <a:pt x="1498411" y="490748"/>
                </a:cubicBezTo>
                <a:cubicBezTo>
                  <a:pt x="1489933" y="493034"/>
                  <a:pt x="1481647" y="496463"/>
                  <a:pt x="1472979" y="491605"/>
                </a:cubicBezTo>
                <a:cubicBezTo>
                  <a:pt x="1460501" y="494081"/>
                  <a:pt x="1448023" y="494177"/>
                  <a:pt x="1435450" y="491986"/>
                </a:cubicBezTo>
                <a:cubicBezTo>
                  <a:pt x="1432879" y="491510"/>
                  <a:pt x="1429831" y="493034"/>
                  <a:pt x="1427068" y="493891"/>
                </a:cubicBezTo>
                <a:cubicBezTo>
                  <a:pt x="1420591" y="495891"/>
                  <a:pt x="1414210" y="498177"/>
                  <a:pt x="1407733" y="500273"/>
                </a:cubicBezTo>
                <a:cubicBezTo>
                  <a:pt x="1402018" y="495415"/>
                  <a:pt x="1396874" y="491033"/>
                  <a:pt x="1391731" y="486652"/>
                </a:cubicBezTo>
                <a:cubicBezTo>
                  <a:pt x="1381825" y="485795"/>
                  <a:pt x="1372204" y="485414"/>
                  <a:pt x="1364965" y="494367"/>
                </a:cubicBezTo>
                <a:cubicBezTo>
                  <a:pt x="1358774" y="502082"/>
                  <a:pt x="1349630" y="502082"/>
                  <a:pt x="1341058" y="502940"/>
                </a:cubicBezTo>
                <a:cubicBezTo>
                  <a:pt x="1339153" y="502178"/>
                  <a:pt x="1336867" y="501892"/>
                  <a:pt x="1335628" y="500558"/>
                </a:cubicBezTo>
                <a:cubicBezTo>
                  <a:pt x="1322865" y="487033"/>
                  <a:pt x="1307625" y="487223"/>
                  <a:pt x="1292480" y="494081"/>
                </a:cubicBezTo>
                <a:lnTo>
                  <a:pt x="939769" y="503606"/>
                </a:lnTo>
                <a:cubicBezTo>
                  <a:pt x="931959" y="503702"/>
                  <a:pt x="875190" y="498653"/>
                  <a:pt x="854330" y="499415"/>
                </a:cubicBezTo>
                <a:lnTo>
                  <a:pt x="590869" y="498939"/>
                </a:lnTo>
                <a:cubicBezTo>
                  <a:pt x="586582" y="501892"/>
                  <a:pt x="581725" y="502082"/>
                  <a:pt x="576867" y="501511"/>
                </a:cubicBezTo>
                <a:cubicBezTo>
                  <a:pt x="571057" y="500844"/>
                  <a:pt x="565246" y="499987"/>
                  <a:pt x="559436" y="499225"/>
                </a:cubicBezTo>
                <a:cubicBezTo>
                  <a:pt x="543720" y="502178"/>
                  <a:pt x="528099" y="504083"/>
                  <a:pt x="512287" y="499701"/>
                </a:cubicBezTo>
                <a:cubicBezTo>
                  <a:pt x="500095" y="498749"/>
                  <a:pt x="465139" y="506369"/>
                  <a:pt x="459233" y="505797"/>
                </a:cubicBezTo>
                <a:cubicBezTo>
                  <a:pt x="438564" y="503892"/>
                  <a:pt x="417895" y="502082"/>
                  <a:pt x="397321" y="499701"/>
                </a:cubicBezTo>
                <a:cubicBezTo>
                  <a:pt x="384652" y="498272"/>
                  <a:pt x="372175" y="497987"/>
                  <a:pt x="359316" y="498844"/>
                </a:cubicBezTo>
                <a:cubicBezTo>
                  <a:pt x="342838" y="499987"/>
                  <a:pt x="325978" y="496082"/>
                  <a:pt x="309310" y="494367"/>
                </a:cubicBezTo>
                <a:cubicBezTo>
                  <a:pt x="303404" y="493700"/>
                  <a:pt x="297499" y="492938"/>
                  <a:pt x="291593" y="492272"/>
                </a:cubicBezTo>
                <a:cubicBezTo>
                  <a:pt x="279877" y="490748"/>
                  <a:pt x="271495" y="494843"/>
                  <a:pt x="259780" y="493319"/>
                </a:cubicBezTo>
                <a:cubicBezTo>
                  <a:pt x="256636" y="492557"/>
                  <a:pt x="209583" y="495034"/>
                  <a:pt x="197296" y="497415"/>
                </a:cubicBezTo>
                <a:cubicBezTo>
                  <a:pt x="180246" y="506845"/>
                  <a:pt x="145289" y="495701"/>
                  <a:pt x="125668" y="498749"/>
                </a:cubicBezTo>
                <a:cubicBezTo>
                  <a:pt x="116809" y="500177"/>
                  <a:pt x="108427" y="499892"/>
                  <a:pt x="99760" y="499130"/>
                </a:cubicBezTo>
                <a:cubicBezTo>
                  <a:pt x="97378" y="500558"/>
                  <a:pt x="94997" y="503035"/>
                  <a:pt x="92521" y="503225"/>
                </a:cubicBezTo>
                <a:cubicBezTo>
                  <a:pt x="87758" y="503511"/>
                  <a:pt x="82234" y="503797"/>
                  <a:pt x="78328" y="501701"/>
                </a:cubicBezTo>
                <a:cubicBezTo>
                  <a:pt x="67946" y="496272"/>
                  <a:pt x="60898" y="506845"/>
                  <a:pt x="49944" y="503702"/>
                </a:cubicBezTo>
                <a:cubicBezTo>
                  <a:pt x="46420" y="502654"/>
                  <a:pt x="43372" y="499796"/>
                  <a:pt x="40038" y="497796"/>
                </a:cubicBezTo>
                <a:cubicBezTo>
                  <a:pt x="31275" y="496748"/>
                  <a:pt x="25655" y="492367"/>
                  <a:pt x="24131" y="483223"/>
                </a:cubicBezTo>
                <a:cubicBezTo>
                  <a:pt x="22988" y="476460"/>
                  <a:pt x="21178" y="469793"/>
                  <a:pt x="20416" y="463030"/>
                </a:cubicBezTo>
                <a:cubicBezTo>
                  <a:pt x="19750" y="457982"/>
                  <a:pt x="18702" y="453124"/>
                  <a:pt x="15178" y="449600"/>
                </a:cubicBezTo>
                <a:cubicBezTo>
                  <a:pt x="6700" y="441313"/>
                  <a:pt x="5653" y="430740"/>
                  <a:pt x="5938" y="420548"/>
                </a:cubicBezTo>
                <a:lnTo>
                  <a:pt x="10415" y="397593"/>
                </a:lnTo>
                <a:cubicBezTo>
                  <a:pt x="16225" y="395593"/>
                  <a:pt x="21274" y="388068"/>
                  <a:pt x="20321" y="381496"/>
                </a:cubicBezTo>
                <a:cubicBezTo>
                  <a:pt x="18797" y="370066"/>
                  <a:pt x="20321" y="358064"/>
                  <a:pt x="12225" y="347873"/>
                </a:cubicBezTo>
                <a:cubicBezTo>
                  <a:pt x="12225" y="347873"/>
                  <a:pt x="1747" y="299295"/>
                  <a:pt x="6605" y="265862"/>
                </a:cubicBezTo>
                <a:cubicBezTo>
                  <a:pt x="11463" y="232430"/>
                  <a:pt x="7367" y="274911"/>
                  <a:pt x="1271" y="225000"/>
                </a:cubicBezTo>
                <a:cubicBezTo>
                  <a:pt x="-4825" y="175184"/>
                  <a:pt x="12987" y="120416"/>
                  <a:pt x="12987" y="120416"/>
                </a:cubicBezTo>
                <a:cubicBezTo>
                  <a:pt x="34132" y="66599"/>
                  <a:pt x="48896" y="89840"/>
                  <a:pt x="72042" y="83078"/>
                </a:cubicBezTo>
                <a:cubicBezTo>
                  <a:pt x="95283" y="76315"/>
                  <a:pt x="106046" y="65742"/>
                  <a:pt x="116714" y="62123"/>
                </a:cubicBezTo>
                <a:cubicBezTo>
                  <a:pt x="121762" y="60408"/>
                  <a:pt x="174721" y="57836"/>
                  <a:pt x="180436" y="58408"/>
                </a:cubicBezTo>
                <a:cubicBezTo>
                  <a:pt x="180436" y="58408"/>
                  <a:pt x="213679" y="48121"/>
                  <a:pt x="233014" y="58979"/>
                </a:cubicBezTo>
                <a:cubicBezTo>
                  <a:pt x="252350" y="69933"/>
                  <a:pt x="348172" y="66599"/>
                  <a:pt x="352744" y="59170"/>
                </a:cubicBezTo>
                <a:cubicBezTo>
                  <a:pt x="362364" y="54407"/>
                  <a:pt x="382557" y="50693"/>
                  <a:pt x="392844" y="49169"/>
                </a:cubicBezTo>
                <a:cubicBezTo>
                  <a:pt x="399035" y="47835"/>
                  <a:pt x="461900" y="49835"/>
                  <a:pt x="471616" y="51836"/>
                </a:cubicBezTo>
                <a:cubicBezTo>
                  <a:pt x="475616" y="50693"/>
                  <a:pt x="482855" y="51169"/>
                  <a:pt x="486665" y="53264"/>
                </a:cubicBezTo>
                <a:lnTo>
                  <a:pt x="501524" y="53836"/>
                </a:lnTo>
                <a:cubicBezTo>
                  <a:pt x="514573" y="56884"/>
                  <a:pt x="526765" y="54693"/>
                  <a:pt x="538386" y="48883"/>
                </a:cubicBezTo>
                <a:cubicBezTo>
                  <a:pt x="553435" y="41263"/>
                  <a:pt x="568675" y="35643"/>
                  <a:pt x="586011" y="40787"/>
                </a:cubicBezTo>
                <a:cubicBezTo>
                  <a:pt x="588583" y="41549"/>
                  <a:pt x="591726" y="40501"/>
                  <a:pt x="594583" y="40120"/>
                </a:cubicBezTo>
                <a:cubicBezTo>
                  <a:pt x="609919" y="37739"/>
                  <a:pt x="625159" y="35262"/>
                  <a:pt x="640494" y="32786"/>
                </a:cubicBezTo>
                <a:cubicBezTo>
                  <a:pt x="642113" y="29928"/>
                  <a:pt x="644685" y="29166"/>
                  <a:pt x="647638" y="29261"/>
                </a:cubicBezTo>
                <a:cubicBezTo>
                  <a:pt x="650209" y="28214"/>
                  <a:pt x="652781" y="26023"/>
                  <a:pt x="655353" y="26213"/>
                </a:cubicBezTo>
                <a:lnTo>
                  <a:pt x="714027" y="26023"/>
                </a:lnTo>
                <a:cubicBezTo>
                  <a:pt x="728410" y="24023"/>
                  <a:pt x="742221" y="19355"/>
                  <a:pt x="757366" y="22022"/>
                </a:cubicBezTo>
                <a:cubicBezTo>
                  <a:pt x="765652" y="23451"/>
                  <a:pt x="774701" y="20403"/>
                  <a:pt x="783369" y="19165"/>
                </a:cubicBezTo>
                <a:cubicBezTo>
                  <a:pt x="796228" y="17355"/>
                  <a:pt x="867379" y="14307"/>
                  <a:pt x="879667" y="15355"/>
                </a:cubicBezTo>
                <a:cubicBezTo>
                  <a:pt x="882524" y="15641"/>
                  <a:pt x="885382" y="16688"/>
                  <a:pt x="888144" y="17450"/>
                </a:cubicBezTo>
                <a:cubicBezTo>
                  <a:pt x="909956" y="12783"/>
                  <a:pt x="931768" y="9735"/>
                  <a:pt x="953485" y="17927"/>
                </a:cubicBezTo>
                <a:cubicBezTo>
                  <a:pt x="967487" y="10402"/>
                  <a:pt x="981489" y="10021"/>
                  <a:pt x="995491" y="17927"/>
                </a:cubicBezTo>
                <a:cubicBezTo>
                  <a:pt x="997586" y="18022"/>
                  <a:pt x="999682" y="18212"/>
                  <a:pt x="1001777" y="18308"/>
                </a:cubicBezTo>
                <a:cubicBezTo>
                  <a:pt x="1004349" y="16879"/>
                  <a:pt x="1006825" y="14498"/>
                  <a:pt x="1009397" y="14307"/>
                </a:cubicBezTo>
                <a:cubicBezTo>
                  <a:pt x="1026923" y="13259"/>
                  <a:pt x="1044544" y="10497"/>
                  <a:pt x="1061404" y="18498"/>
                </a:cubicBezTo>
                <a:cubicBezTo>
                  <a:pt x="1064833" y="20117"/>
                  <a:pt x="1069119" y="19736"/>
                  <a:pt x="1072929" y="20308"/>
                </a:cubicBezTo>
                <a:cubicBezTo>
                  <a:pt x="1086550" y="15450"/>
                  <a:pt x="1100361" y="17831"/>
                  <a:pt x="1114172" y="18974"/>
                </a:cubicBezTo>
                <a:cubicBezTo>
                  <a:pt x="1115029" y="18498"/>
                  <a:pt x="1115791" y="17641"/>
                  <a:pt x="1116649" y="17546"/>
                </a:cubicBezTo>
                <a:cubicBezTo>
                  <a:pt x="1137794" y="14498"/>
                  <a:pt x="1171227" y="19260"/>
                  <a:pt x="1187610" y="27547"/>
                </a:cubicBezTo>
                <a:cubicBezTo>
                  <a:pt x="1193801" y="30690"/>
                  <a:pt x="1194277" y="4401"/>
                  <a:pt x="1197516" y="10688"/>
                </a:cubicBezTo>
                <a:cubicBezTo>
                  <a:pt x="1199326" y="11450"/>
                  <a:pt x="1201231" y="12212"/>
                  <a:pt x="1203040" y="12974"/>
                </a:cubicBezTo>
                <a:cubicBezTo>
                  <a:pt x="1206946" y="13259"/>
                  <a:pt x="1210946" y="13545"/>
                  <a:pt x="1214851" y="13831"/>
                </a:cubicBezTo>
                <a:cubicBezTo>
                  <a:pt x="1216947" y="12021"/>
                  <a:pt x="1219042" y="10116"/>
                  <a:pt x="1221138" y="8306"/>
                </a:cubicBezTo>
                <a:cubicBezTo>
                  <a:pt x="1222757" y="2877"/>
                  <a:pt x="1227329" y="1067"/>
                  <a:pt x="1232187" y="115"/>
                </a:cubicBezTo>
                <a:cubicBezTo>
                  <a:pt x="1235997" y="-647"/>
                  <a:pt x="1268858" y="2591"/>
                  <a:pt x="1281526" y="3639"/>
                </a:cubicBezTo>
                <a:lnTo>
                  <a:pt x="1281526" y="3639"/>
                </a:lnTo>
                <a:cubicBezTo>
                  <a:pt x="1285527" y="115"/>
                  <a:pt x="1320198" y="8021"/>
                  <a:pt x="1332961" y="11354"/>
                </a:cubicBezTo>
                <a:cubicBezTo>
                  <a:pt x="1337533" y="10497"/>
                  <a:pt x="1342201" y="9830"/>
                  <a:pt x="1346773" y="8783"/>
                </a:cubicBezTo>
                <a:cubicBezTo>
                  <a:pt x="1350583" y="7830"/>
                  <a:pt x="1354297" y="7163"/>
                  <a:pt x="1357536" y="9640"/>
                </a:cubicBezTo>
                <a:cubicBezTo>
                  <a:pt x="1364775" y="15260"/>
                  <a:pt x="1373538" y="14593"/>
                  <a:pt x="1381825" y="15926"/>
                </a:cubicBezTo>
                <a:cubicBezTo>
                  <a:pt x="1390397" y="16974"/>
                  <a:pt x="1398874" y="17927"/>
                  <a:pt x="1407447" y="19070"/>
                </a:cubicBezTo>
                <a:cubicBezTo>
                  <a:pt x="1416877" y="20308"/>
                  <a:pt x="1427164" y="19832"/>
                  <a:pt x="1435546" y="23546"/>
                </a:cubicBezTo>
                <a:cubicBezTo>
                  <a:pt x="1443832" y="27261"/>
                  <a:pt x="1450119" y="35357"/>
                  <a:pt x="1457263" y="41453"/>
                </a:cubicBezTo>
                <a:cubicBezTo>
                  <a:pt x="1461454" y="43549"/>
                  <a:pt x="1465645" y="45835"/>
                  <a:pt x="1469931" y="47835"/>
                </a:cubicBezTo>
                <a:cubicBezTo>
                  <a:pt x="1473836" y="49645"/>
                  <a:pt x="1477265" y="48788"/>
                  <a:pt x="1480027" y="45454"/>
                </a:cubicBezTo>
                <a:cubicBezTo>
                  <a:pt x="1482504" y="42215"/>
                  <a:pt x="1485647" y="40691"/>
                  <a:pt x="1489838" y="40787"/>
                </a:cubicBezTo>
                <a:cubicBezTo>
                  <a:pt x="1493553" y="40882"/>
                  <a:pt x="1498982" y="41644"/>
                  <a:pt x="1500887" y="39644"/>
                </a:cubicBezTo>
                <a:cubicBezTo>
                  <a:pt x="1510507" y="29071"/>
                  <a:pt x="1521937" y="32881"/>
                  <a:pt x="1533177" y="34119"/>
                </a:cubicBezTo>
                <a:cubicBezTo>
                  <a:pt x="1535939" y="34405"/>
                  <a:pt x="1538701" y="35548"/>
                  <a:pt x="1541368" y="36310"/>
                </a:cubicBezTo>
                <a:cubicBezTo>
                  <a:pt x="1543845" y="36977"/>
                  <a:pt x="1545274" y="41644"/>
                  <a:pt x="1543273" y="43454"/>
                </a:cubicBezTo>
                <a:cubicBezTo>
                  <a:pt x="1539844" y="46597"/>
                  <a:pt x="1536130" y="49550"/>
                  <a:pt x="1532510" y="52502"/>
                </a:cubicBezTo>
                <a:cubicBezTo>
                  <a:pt x="1534034" y="56503"/>
                  <a:pt x="1535558" y="60503"/>
                  <a:pt x="1537177" y="64599"/>
                </a:cubicBezTo>
                <a:cubicBezTo>
                  <a:pt x="1537177" y="64599"/>
                  <a:pt x="1537558" y="64790"/>
                  <a:pt x="1537558" y="64790"/>
                </a:cubicBezTo>
                <a:cubicBezTo>
                  <a:pt x="1546798" y="60027"/>
                  <a:pt x="1557466" y="63837"/>
                  <a:pt x="1566419" y="61170"/>
                </a:cubicBezTo>
                <a:cubicBezTo>
                  <a:pt x="1579183" y="57360"/>
                  <a:pt x="1599185" y="35167"/>
                  <a:pt x="1609948" y="40596"/>
                </a:cubicBezTo>
                <a:cubicBezTo>
                  <a:pt x="1612520" y="41930"/>
                  <a:pt x="1615663" y="42120"/>
                  <a:pt x="1618521" y="42882"/>
                </a:cubicBezTo>
                <a:cubicBezTo>
                  <a:pt x="1626522" y="43263"/>
                  <a:pt x="1634047" y="42501"/>
                  <a:pt x="1640809" y="37548"/>
                </a:cubicBezTo>
                <a:cubicBezTo>
                  <a:pt x="1646810" y="33167"/>
                  <a:pt x="1653859" y="33357"/>
                  <a:pt x="1660431" y="36024"/>
                </a:cubicBezTo>
                <a:cubicBezTo>
                  <a:pt x="1662812" y="36977"/>
                  <a:pt x="1664241" y="40025"/>
                  <a:pt x="1666146" y="42120"/>
                </a:cubicBezTo>
                <a:cubicBezTo>
                  <a:pt x="1670908" y="45263"/>
                  <a:pt x="1675576" y="48502"/>
                  <a:pt x="1680433" y="51455"/>
                </a:cubicBezTo>
                <a:cubicBezTo>
                  <a:pt x="1687958" y="55931"/>
                  <a:pt x="1696150" y="58789"/>
                  <a:pt x="1704913" y="55741"/>
                </a:cubicBezTo>
                <a:cubicBezTo>
                  <a:pt x="1712342" y="53169"/>
                  <a:pt x="1717676" y="57455"/>
                  <a:pt x="1723677" y="59932"/>
                </a:cubicBezTo>
                <a:cubicBezTo>
                  <a:pt x="1727487" y="56503"/>
                  <a:pt x="1732059" y="56217"/>
                  <a:pt x="1736917" y="56979"/>
                </a:cubicBezTo>
                <a:cubicBezTo>
                  <a:pt x="1742536" y="57741"/>
                  <a:pt x="1748156" y="58313"/>
                  <a:pt x="1753776" y="58979"/>
                </a:cubicBezTo>
                <a:cubicBezTo>
                  <a:pt x="1761872" y="49740"/>
                  <a:pt x="1761682" y="50026"/>
                  <a:pt x="1769683" y="52788"/>
                </a:cubicBezTo>
                <a:cubicBezTo>
                  <a:pt x="1778065" y="55741"/>
                  <a:pt x="1787780" y="58027"/>
                  <a:pt x="1790161" y="68028"/>
                </a:cubicBezTo>
                <a:lnTo>
                  <a:pt x="1799972" y="83840"/>
                </a:lnTo>
                <a:cubicBezTo>
                  <a:pt x="1814641" y="90126"/>
                  <a:pt x="1821213" y="87745"/>
                  <a:pt x="1822546" y="84602"/>
                </a:cubicBezTo>
                <a:cubicBezTo>
                  <a:pt x="1825213" y="81458"/>
                  <a:pt x="1828357" y="79553"/>
                  <a:pt x="1832643" y="80030"/>
                </a:cubicBezTo>
                <a:cubicBezTo>
                  <a:pt x="1841406" y="81077"/>
                  <a:pt x="1850074" y="82125"/>
                  <a:pt x="1858837" y="83173"/>
                </a:cubicBezTo>
                <a:cubicBezTo>
                  <a:pt x="1860742" y="83459"/>
                  <a:pt x="1862551" y="83649"/>
                  <a:pt x="1864456" y="83744"/>
                </a:cubicBezTo>
                <a:cubicBezTo>
                  <a:pt x="1865123" y="83078"/>
                  <a:pt x="1865599" y="82125"/>
                  <a:pt x="1866361" y="81649"/>
                </a:cubicBezTo>
                <a:cubicBezTo>
                  <a:pt x="1875696" y="76696"/>
                  <a:pt x="1911796" y="90983"/>
                  <a:pt x="1920273" y="95841"/>
                </a:cubicBezTo>
                <a:lnTo>
                  <a:pt x="1930655" y="101937"/>
                </a:lnTo>
                <a:cubicBezTo>
                  <a:pt x="1935799" y="104890"/>
                  <a:pt x="1968184" y="138132"/>
                  <a:pt x="1972279" y="132798"/>
                </a:cubicBezTo>
                <a:cubicBezTo>
                  <a:pt x="1973232" y="127940"/>
                  <a:pt x="1974470" y="122987"/>
                  <a:pt x="1980280" y="122416"/>
                </a:cubicBezTo>
                <a:cubicBezTo>
                  <a:pt x="1985900" y="121749"/>
                  <a:pt x="2013142" y="131369"/>
                  <a:pt x="2017142" y="135751"/>
                </a:cubicBezTo>
                <a:cubicBezTo>
                  <a:pt x="2018761" y="137465"/>
                  <a:pt x="2018190" y="141275"/>
                  <a:pt x="2018571" y="144038"/>
                </a:cubicBezTo>
                <a:cubicBezTo>
                  <a:pt x="2020476" y="144323"/>
                  <a:pt x="2022476" y="144609"/>
                  <a:pt x="2024381" y="144800"/>
                </a:cubicBezTo>
                <a:cubicBezTo>
                  <a:pt x="2031525" y="143180"/>
                  <a:pt x="2036002" y="137942"/>
                  <a:pt x="2040955" y="133846"/>
                </a:cubicBezTo>
                <a:cubicBezTo>
                  <a:pt x="2039431" y="130322"/>
                  <a:pt x="2038288" y="127845"/>
                  <a:pt x="2036859" y="124702"/>
                </a:cubicBezTo>
                <a:cubicBezTo>
                  <a:pt x="2051813" y="119558"/>
                  <a:pt x="2066672" y="117749"/>
                  <a:pt x="2081912" y="122702"/>
                </a:cubicBezTo>
                <a:cubicBezTo>
                  <a:pt x="2083341" y="126035"/>
                  <a:pt x="2082007" y="128988"/>
                  <a:pt x="2079150" y="129750"/>
                </a:cubicBezTo>
                <a:cubicBezTo>
                  <a:pt x="2075626" y="130607"/>
                  <a:pt x="2071244" y="128893"/>
                  <a:pt x="2068101" y="130226"/>
                </a:cubicBezTo>
                <a:cubicBezTo>
                  <a:pt x="2062862" y="132322"/>
                  <a:pt x="2058290" y="136037"/>
                  <a:pt x="2053528" y="138989"/>
                </a:cubicBezTo>
                <a:cubicBezTo>
                  <a:pt x="2054575" y="143180"/>
                  <a:pt x="2057814" y="142323"/>
                  <a:pt x="2060195" y="143276"/>
                </a:cubicBezTo>
                <a:cubicBezTo>
                  <a:pt x="2068768" y="146609"/>
                  <a:pt x="2077435" y="141180"/>
                  <a:pt x="2086389" y="144228"/>
                </a:cubicBezTo>
                <a:cubicBezTo>
                  <a:pt x="2094676" y="147086"/>
                  <a:pt x="2103629" y="147943"/>
                  <a:pt x="2112297" y="149467"/>
                </a:cubicBezTo>
                <a:cubicBezTo>
                  <a:pt x="2120203" y="150896"/>
                  <a:pt x="2127346" y="153372"/>
                  <a:pt x="2131347" y="161183"/>
                </a:cubicBezTo>
                <a:cubicBezTo>
                  <a:pt x="2126680" y="164421"/>
                  <a:pt x="2121822" y="162611"/>
                  <a:pt x="2117345" y="161945"/>
                </a:cubicBezTo>
                <a:cubicBezTo>
                  <a:pt x="2102772" y="159659"/>
                  <a:pt x="2087818" y="160230"/>
                  <a:pt x="2073625" y="155087"/>
                </a:cubicBezTo>
                <a:cubicBezTo>
                  <a:pt x="2068006" y="153086"/>
                  <a:pt x="2067910" y="153372"/>
                  <a:pt x="2064291" y="161468"/>
                </a:cubicBezTo>
                <a:cubicBezTo>
                  <a:pt x="2066767" y="162230"/>
                  <a:pt x="2069815" y="162230"/>
                  <a:pt x="2070673" y="165755"/>
                </a:cubicBezTo>
                <a:cubicBezTo>
                  <a:pt x="2070577" y="167755"/>
                  <a:pt x="2069244" y="168231"/>
                  <a:pt x="2066672" y="167850"/>
                </a:cubicBezTo>
                <a:cubicBezTo>
                  <a:pt x="2056290" y="166421"/>
                  <a:pt x="2050480" y="178423"/>
                  <a:pt x="2041526" y="174041"/>
                </a:cubicBezTo>
                <a:cubicBezTo>
                  <a:pt x="2032477" y="169660"/>
                  <a:pt x="2028191" y="173660"/>
                  <a:pt x="2019904" y="172517"/>
                </a:cubicBezTo>
                <a:cubicBezTo>
                  <a:pt x="2018761" y="173851"/>
                  <a:pt x="2013904" y="173851"/>
                  <a:pt x="2007903" y="173565"/>
                </a:cubicBezTo>
                <a:cubicBezTo>
                  <a:pt x="2009617" y="175946"/>
                  <a:pt x="2010760" y="179185"/>
                  <a:pt x="2010189" y="180995"/>
                </a:cubicBezTo>
                <a:cubicBezTo>
                  <a:pt x="2009236" y="183471"/>
                  <a:pt x="2007903" y="186805"/>
                  <a:pt x="2006188" y="187186"/>
                </a:cubicBezTo>
                <a:cubicBezTo>
                  <a:pt x="2003140" y="187853"/>
                  <a:pt x="1999807" y="188519"/>
                  <a:pt x="1996568" y="188329"/>
                </a:cubicBezTo>
                <a:cubicBezTo>
                  <a:pt x="2000378" y="189662"/>
                  <a:pt x="2003998" y="190329"/>
                  <a:pt x="2012284" y="191472"/>
                </a:cubicBezTo>
                <a:cubicBezTo>
                  <a:pt x="2014380" y="191567"/>
                  <a:pt x="2016475" y="191758"/>
                  <a:pt x="2018571" y="191853"/>
                </a:cubicBezTo>
                <a:cubicBezTo>
                  <a:pt x="2020571" y="192044"/>
                  <a:pt x="2022571" y="192329"/>
                  <a:pt x="2024572" y="192520"/>
                </a:cubicBezTo>
                <a:cubicBezTo>
                  <a:pt x="2032287" y="193472"/>
                  <a:pt x="2040002" y="194330"/>
                  <a:pt x="2047717" y="195187"/>
                </a:cubicBezTo>
                <a:cubicBezTo>
                  <a:pt x="2052766" y="195758"/>
                  <a:pt x="2061814" y="197473"/>
                  <a:pt x="2064196" y="202426"/>
                </a:cubicBezTo>
                <a:lnTo>
                  <a:pt x="2066482" y="203759"/>
                </a:lnTo>
                <a:cubicBezTo>
                  <a:pt x="2077912" y="205188"/>
                  <a:pt x="2088008" y="205188"/>
                  <a:pt x="2098486" y="211951"/>
                </a:cubicBezTo>
                <a:cubicBezTo>
                  <a:pt x="2103820" y="215380"/>
                  <a:pt x="2111440" y="215380"/>
                  <a:pt x="2117821" y="217380"/>
                </a:cubicBezTo>
                <a:cubicBezTo>
                  <a:pt x="2119060" y="217761"/>
                  <a:pt x="2119631" y="220428"/>
                  <a:pt x="2120203" y="222143"/>
                </a:cubicBezTo>
                <a:cubicBezTo>
                  <a:pt x="2120203" y="222428"/>
                  <a:pt x="2118679" y="223762"/>
                  <a:pt x="2118107" y="223667"/>
                </a:cubicBezTo>
                <a:cubicBezTo>
                  <a:pt x="2103915" y="221476"/>
                  <a:pt x="2090294" y="219095"/>
                  <a:pt x="2076102" y="216713"/>
                </a:cubicBezTo>
                <a:lnTo>
                  <a:pt x="2075435" y="216713"/>
                </a:lnTo>
                <a:cubicBezTo>
                  <a:pt x="2083055" y="225667"/>
                  <a:pt x="2093628" y="229286"/>
                  <a:pt x="2104486" y="231858"/>
                </a:cubicBezTo>
                <a:cubicBezTo>
                  <a:pt x="2111821" y="233573"/>
                  <a:pt x="2122965" y="237383"/>
                  <a:pt x="2129537" y="243479"/>
                </a:cubicBezTo>
                <a:cubicBezTo>
                  <a:pt x="2129537" y="243479"/>
                  <a:pt x="2136490" y="245288"/>
                  <a:pt x="2134776" y="246717"/>
                </a:cubicBezTo>
                <a:cubicBezTo>
                  <a:pt x="2133061" y="248146"/>
                  <a:pt x="2123060" y="248717"/>
                  <a:pt x="2123060" y="248717"/>
                </a:cubicBezTo>
                <a:cubicBezTo>
                  <a:pt x="2108773" y="249384"/>
                  <a:pt x="2101153" y="245193"/>
                  <a:pt x="2088865" y="240240"/>
                </a:cubicBezTo>
                <a:cubicBezTo>
                  <a:pt x="2075816" y="234906"/>
                  <a:pt x="2065910" y="233668"/>
                  <a:pt x="2052385" y="231953"/>
                </a:cubicBezTo>
                <a:cubicBezTo>
                  <a:pt x="2045622" y="231096"/>
                  <a:pt x="2038764" y="230144"/>
                  <a:pt x="2032001" y="229286"/>
                </a:cubicBezTo>
                <a:cubicBezTo>
                  <a:pt x="2025048" y="229382"/>
                  <a:pt x="2020571" y="224333"/>
                  <a:pt x="2015047" y="221381"/>
                </a:cubicBezTo>
                <a:lnTo>
                  <a:pt x="2007903" y="223571"/>
                </a:lnTo>
                <a:cubicBezTo>
                  <a:pt x="2001521" y="219190"/>
                  <a:pt x="1986091" y="222238"/>
                  <a:pt x="1977994" y="221095"/>
                </a:cubicBezTo>
                <a:lnTo>
                  <a:pt x="1977994" y="221095"/>
                </a:lnTo>
                <a:cubicBezTo>
                  <a:pt x="1975518" y="222238"/>
                  <a:pt x="1972756" y="223095"/>
                  <a:pt x="1970565" y="224714"/>
                </a:cubicBezTo>
                <a:lnTo>
                  <a:pt x="1979328" y="234335"/>
                </a:lnTo>
                <a:cubicBezTo>
                  <a:pt x="1981614" y="242050"/>
                  <a:pt x="1995520" y="241478"/>
                  <a:pt x="2006665" y="248432"/>
                </a:cubicBezTo>
                <a:lnTo>
                  <a:pt x="2017142" y="249575"/>
                </a:lnTo>
                <a:lnTo>
                  <a:pt x="2021238" y="257290"/>
                </a:lnTo>
                <a:cubicBezTo>
                  <a:pt x="2024857" y="257766"/>
                  <a:pt x="2032668" y="259576"/>
                  <a:pt x="2036287" y="260052"/>
                </a:cubicBezTo>
                <a:cubicBezTo>
                  <a:pt x="2044384" y="252146"/>
                  <a:pt x="2048670" y="278531"/>
                  <a:pt x="2055623" y="284341"/>
                </a:cubicBezTo>
                <a:cubicBezTo>
                  <a:pt x="2061433" y="289199"/>
                  <a:pt x="2068101" y="292818"/>
                  <a:pt x="2075721" y="291008"/>
                </a:cubicBezTo>
                <a:cubicBezTo>
                  <a:pt x="2083912" y="289103"/>
                  <a:pt x="2085151" y="317583"/>
                  <a:pt x="2092580" y="318440"/>
                </a:cubicBezTo>
                <a:cubicBezTo>
                  <a:pt x="2099438" y="319202"/>
                  <a:pt x="2105629" y="319012"/>
                  <a:pt x="2110773" y="324727"/>
                </a:cubicBezTo>
                <a:cubicBezTo>
                  <a:pt x="2113154" y="327299"/>
                  <a:pt x="2117536" y="328632"/>
                  <a:pt x="2121250" y="329299"/>
                </a:cubicBezTo>
                <a:cubicBezTo>
                  <a:pt x="2130871" y="331109"/>
                  <a:pt x="2140872" y="331490"/>
                  <a:pt x="2150302" y="333871"/>
                </a:cubicBezTo>
                <a:cubicBezTo>
                  <a:pt x="2158684" y="335966"/>
                  <a:pt x="2167161" y="342253"/>
                  <a:pt x="2171447" y="351397"/>
                </a:cubicBezTo>
                <a:lnTo>
                  <a:pt x="2168113" y="353207"/>
                </a:lnTo>
                <a:cubicBezTo>
                  <a:pt x="2157160" y="358350"/>
                  <a:pt x="2146111" y="356636"/>
                  <a:pt x="2133823" y="354445"/>
                </a:cubicBezTo>
                <a:cubicBezTo>
                  <a:pt x="2130490" y="353873"/>
                  <a:pt x="2127727" y="350444"/>
                  <a:pt x="2124775" y="348254"/>
                </a:cubicBezTo>
                <a:cubicBezTo>
                  <a:pt x="2122012" y="349206"/>
                  <a:pt x="2119345" y="350349"/>
                  <a:pt x="2116583" y="351016"/>
                </a:cubicBezTo>
                <a:cubicBezTo>
                  <a:pt x="2112202" y="352159"/>
                  <a:pt x="2109249" y="350254"/>
                  <a:pt x="2107534" y="346158"/>
                </a:cubicBezTo>
                <a:cubicBezTo>
                  <a:pt x="2103248" y="343967"/>
                  <a:pt x="2101915" y="344825"/>
                  <a:pt x="2097533" y="344539"/>
                </a:cubicBezTo>
                <a:cubicBezTo>
                  <a:pt x="2092294" y="344158"/>
                  <a:pt x="2090199" y="344158"/>
                  <a:pt x="2086579" y="339681"/>
                </a:cubicBezTo>
                <a:cubicBezTo>
                  <a:pt x="2078102" y="329204"/>
                  <a:pt x="2074102" y="325584"/>
                  <a:pt x="2060671" y="327870"/>
                </a:cubicBezTo>
                <a:cubicBezTo>
                  <a:pt x="2061433" y="330728"/>
                  <a:pt x="2062100" y="333395"/>
                  <a:pt x="2062862" y="336157"/>
                </a:cubicBezTo>
                <a:cubicBezTo>
                  <a:pt x="2056290" y="339872"/>
                  <a:pt x="2049908" y="335776"/>
                  <a:pt x="2043431" y="335966"/>
                </a:cubicBezTo>
                <a:cubicBezTo>
                  <a:pt x="2038954" y="335681"/>
                  <a:pt x="2034478" y="335490"/>
                  <a:pt x="2030001" y="335204"/>
                </a:cubicBezTo>
                <a:cubicBezTo>
                  <a:pt x="2025619" y="348730"/>
                  <a:pt x="2039240" y="340157"/>
                  <a:pt x="2045241" y="348920"/>
                </a:cubicBezTo>
                <a:cubicBezTo>
                  <a:pt x="2050861" y="351683"/>
                  <a:pt x="2052289" y="355969"/>
                  <a:pt x="2057814" y="358636"/>
                </a:cubicBezTo>
                <a:cubicBezTo>
                  <a:pt x="2062481" y="359493"/>
                  <a:pt x="2067625" y="360541"/>
                  <a:pt x="2071149" y="363017"/>
                </a:cubicBezTo>
                <a:cubicBezTo>
                  <a:pt x="2079531" y="368828"/>
                  <a:pt x="2077150" y="362541"/>
                  <a:pt x="2086484" y="363779"/>
                </a:cubicBezTo>
                <a:lnTo>
                  <a:pt x="2091818" y="365875"/>
                </a:lnTo>
                <a:cubicBezTo>
                  <a:pt x="2095723" y="366351"/>
                  <a:pt x="2106106" y="369685"/>
                  <a:pt x="2110011" y="370161"/>
                </a:cubicBezTo>
                <a:cubicBezTo>
                  <a:pt x="2122774" y="369399"/>
                  <a:pt x="2118964" y="373400"/>
                  <a:pt x="2130680" y="376257"/>
                </a:cubicBezTo>
                <a:cubicBezTo>
                  <a:pt x="2142301" y="377781"/>
                  <a:pt x="2141920" y="381305"/>
                  <a:pt x="2152873" y="387211"/>
                </a:cubicBezTo>
                <a:lnTo>
                  <a:pt x="2174305" y="400451"/>
                </a:lnTo>
                <a:cubicBezTo>
                  <a:pt x="2174305" y="400451"/>
                  <a:pt x="2169352" y="401689"/>
                  <a:pt x="2162494" y="403213"/>
                </a:cubicBezTo>
                <a:cubicBezTo>
                  <a:pt x="2157350" y="404356"/>
                  <a:pt x="2150873" y="397307"/>
                  <a:pt x="2144872" y="398450"/>
                </a:cubicBezTo>
                <a:cubicBezTo>
                  <a:pt x="2137348" y="399879"/>
                  <a:pt x="2130299" y="400832"/>
                  <a:pt x="2126584" y="400641"/>
                </a:cubicBezTo>
                <a:cubicBezTo>
                  <a:pt x="2127918" y="404546"/>
                  <a:pt x="2130775" y="406737"/>
                  <a:pt x="2134681" y="407594"/>
                </a:cubicBezTo>
                <a:cubicBezTo>
                  <a:pt x="2138586" y="408452"/>
                  <a:pt x="2143920" y="409118"/>
                  <a:pt x="2145253" y="413024"/>
                </a:cubicBezTo>
                <a:cubicBezTo>
                  <a:pt x="2149159" y="413500"/>
                  <a:pt x="2150111" y="417405"/>
                  <a:pt x="2154112" y="417881"/>
                </a:cubicBezTo>
                <a:lnTo>
                  <a:pt x="2163065" y="418453"/>
                </a:lnTo>
                <a:cubicBezTo>
                  <a:pt x="2171352" y="419310"/>
                  <a:pt x="2175162" y="424454"/>
                  <a:pt x="2181448" y="428930"/>
                </a:cubicBezTo>
                <a:cubicBezTo>
                  <a:pt x="2187830" y="433502"/>
                  <a:pt x="2196307" y="439027"/>
                  <a:pt x="2208309" y="442170"/>
                </a:cubicBezTo>
                <a:cubicBezTo>
                  <a:pt x="2194593" y="443123"/>
                  <a:pt x="2189830" y="442932"/>
                  <a:pt x="2182020" y="441789"/>
                </a:cubicBezTo>
                <a:lnTo>
                  <a:pt x="2168304" y="438836"/>
                </a:lnTo>
                <a:lnTo>
                  <a:pt x="2156017" y="433407"/>
                </a:lnTo>
                <a:cubicBezTo>
                  <a:pt x="2146492" y="429216"/>
                  <a:pt x="2136776" y="427216"/>
                  <a:pt x="2126108" y="425501"/>
                </a:cubicBezTo>
                <a:cubicBezTo>
                  <a:pt x="2119441" y="424644"/>
                  <a:pt x="2108487" y="429311"/>
                  <a:pt x="2108487" y="429311"/>
                </a:cubicBezTo>
                <a:close/>
                <a:moveTo>
                  <a:pt x="2052670" y="493034"/>
                </a:moveTo>
                <a:cubicBezTo>
                  <a:pt x="2065339" y="494177"/>
                  <a:pt x="2081722" y="492748"/>
                  <a:pt x="2084865" y="496558"/>
                </a:cubicBezTo>
                <a:cubicBezTo>
                  <a:pt x="2070482" y="499796"/>
                  <a:pt x="2055433" y="508274"/>
                  <a:pt x="2042669" y="505607"/>
                </a:cubicBezTo>
                <a:cubicBezTo>
                  <a:pt x="2030191" y="503035"/>
                  <a:pt x="2030953" y="506083"/>
                  <a:pt x="2019047" y="501701"/>
                </a:cubicBezTo>
                <a:cubicBezTo>
                  <a:pt x="2012094" y="499130"/>
                  <a:pt x="2011237" y="500939"/>
                  <a:pt x="2004379" y="503702"/>
                </a:cubicBezTo>
                <a:lnTo>
                  <a:pt x="1979518" y="505416"/>
                </a:lnTo>
                <a:cubicBezTo>
                  <a:pt x="1974756" y="507416"/>
                  <a:pt x="1969898" y="508083"/>
                  <a:pt x="1965517" y="505702"/>
                </a:cubicBezTo>
                <a:cubicBezTo>
                  <a:pt x="1958278" y="501797"/>
                  <a:pt x="1950372" y="502749"/>
                  <a:pt x="1942752" y="502082"/>
                </a:cubicBezTo>
                <a:cubicBezTo>
                  <a:pt x="1939609" y="501797"/>
                  <a:pt x="1937513" y="500368"/>
                  <a:pt x="1936656" y="497320"/>
                </a:cubicBezTo>
                <a:cubicBezTo>
                  <a:pt x="1935989" y="495034"/>
                  <a:pt x="1938656" y="491605"/>
                  <a:pt x="1941514" y="491414"/>
                </a:cubicBezTo>
                <a:cubicBezTo>
                  <a:pt x="1956944" y="490176"/>
                  <a:pt x="1958468" y="484175"/>
                  <a:pt x="1973327" y="491033"/>
                </a:cubicBezTo>
                <a:lnTo>
                  <a:pt x="1982090" y="493510"/>
                </a:lnTo>
                <a:cubicBezTo>
                  <a:pt x="1986091" y="493319"/>
                  <a:pt x="1990091" y="492272"/>
                  <a:pt x="1994092" y="491986"/>
                </a:cubicBezTo>
                <a:cubicBezTo>
                  <a:pt x="2010665" y="492272"/>
                  <a:pt x="2016761" y="488271"/>
                  <a:pt x="2025619" y="488271"/>
                </a:cubicBezTo>
                <a:cubicBezTo>
                  <a:pt x="2029810" y="488271"/>
                  <a:pt x="2039431" y="491986"/>
                  <a:pt x="2052766" y="493129"/>
                </a:cubicBezTo>
                <a:close/>
                <a:moveTo>
                  <a:pt x="1926178" y="473222"/>
                </a:moveTo>
                <a:cubicBezTo>
                  <a:pt x="1928845" y="468173"/>
                  <a:pt x="1933132" y="467792"/>
                  <a:pt x="1936751" y="466649"/>
                </a:cubicBezTo>
                <a:cubicBezTo>
                  <a:pt x="1943228" y="464649"/>
                  <a:pt x="1944371" y="465697"/>
                  <a:pt x="1948086" y="475508"/>
                </a:cubicBezTo>
                <a:cubicBezTo>
                  <a:pt x="1940466" y="477508"/>
                  <a:pt x="1933322" y="476555"/>
                  <a:pt x="1926274" y="473126"/>
                </a:cubicBezTo>
                <a:close/>
                <a:moveTo>
                  <a:pt x="1973422" y="484461"/>
                </a:moveTo>
                <a:cubicBezTo>
                  <a:pt x="1961611" y="485223"/>
                  <a:pt x="1956277" y="478365"/>
                  <a:pt x="1956754" y="476651"/>
                </a:cubicBezTo>
                <a:cubicBezTo>
                  <a:pt x="1957420" y="474079"/>
                  <a:pt x="1970184" y="471793"/>
                  <a:pt x="1977804" y="474460"/>
                </a:cubicBezTo>
                <a:cubicBezTo>
                  <a:pt x="1991615" y="479318"/>
                  <a:pt x="2006665" y="477413"/>
                  <a:pt x="2021905" y="479413"/>
                </a:cubicBezTo>
                <a:cubicBezTo>
                  <a:pt x="2006188" y="484271"/>
                  <a:pt x="1989520" y="483128"/>
                  <a:pt x="1973422" y="484461"/>
                </a:cubicBezTo>
                <a:close/>
                <a:moveTo>
                  <a:pt x="2091818" y="473984"/>
                </a:moveTo>
                <a:cubicBezTo>
                  <a:pt x="2086960" y="477032"/>
                  <a:pt x="2083055" y="475031"/>
                  <a:pt x="2079436" y="474174"/>
                </a:cubicBezTo>
                <a:cubicBezTo>
                  <a:pt x="2072863" y="472650"/>
                  <a:pt x="2072482" y="471126"/>
                  <a:pt x="2074292" y="460744"/>
                </a:cubicBezTo>
                <a:cubicBezTo>
                  <a:pt x="2081817" y="462935"/>
                  <a:pt x="2087437" y="467316"/>
                  <a:pt x="2091818" y="473984"/>
                </a:cubicBezTo>
                <a:close/>
              </a:path>
            </a:pathLst>
          </a:custGeom>
          <a:solidFill>
            <a:schemeClr val="accent1">
              <a:lumMod val="40000"/>
              <a:lumOff val="60000"/>
              <a:alpha val="40000"/>
            </a:schemeClr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pPr defTabSz="128590">
              <a:defRPr/>
            </a:pPr>
            <a:endParaRPr lang="nb-NO" sz="1050" noProof="0">
              <a:solidFill>
                <a:prstClr val="black"/>
              </a:solidFill>
              <a:latin typeface="Innovation Norway"/>
            </a:endParaRPr>
          </a:p>
        </p:txBody>
      </p:sp>
      <p:sp>
        <p:nvSpPr>
          <p:cNvPr id="9" name="Rectangle 20">
            <a:extLst>
              <a:ext uri="{FF2B5EF4-FFF2-40B4-BE49-F238E27FC236}">
                <a16:creationId xmlns:a16="http://schemas.microsoft.com/office/drawing/2014/main" id="{09BD54C9-0C40-30E0-EC42-81747BF4D4EC}"/>
              </a:ext>
            </a:extLst>
          </p:cNvPr>
          <p:cNvSpPr/>
          <p:nvPr/>
        </p:nvSpPr>
        <p:spPr>
          <a:xfrm>
            <a:off x="320498" y="5445837"/>
            <a:ext cx="3225742" cy="23155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0500" tIns="0" rIns="0" bIns="0" rtlCol="0" anchor="t">
            <a:noAutofit/>
          </a:bodyPr>
          <a:lstStyle/>
          <a:p>
            <a:pPr defTabSz="128590">
              <a:defRPr/>
            </a:pPr>
            <a:r>
              <a:rPr lang="nb-NO" sz="1600" b="1" noProof="0">
                <a:solidFill>
                  <a:prstClr val="black"/>
                </a:solidFill>
                <a:latin typeface="Innovation Norway" panose="020B0500030000000000"/>
              </a:rPr>
              <a:t>Verdt å merke seg med segmentene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4B2AB8DB-D985-4C28-4ECA-9ECF27652817}"/>
              </a:ext>
            </a:extLst>
          </p:cNvPr>
          <p:cNvSpPr/>
          <p:nvPr/>
        </p:nvSpPr>
        <p:spPr>
          <a:xfrm>
            <a:off x="1225550" y="7515605"/>
            <a:ext cx="2710132" cy="77899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228600" rtl="0" eaLnBrk="1" latinLnBrk="0" hangingPunct="1">
              <a:defRPr sz="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228600" algn="l" defTabSz="228600" rtl="0" eaLnBrk="1" latinLnBrk="0" hangingPunct="1">
              <a:defRPr sz="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457200" algn="l" defTabSz="228600" rtl="0" eaLnBrk="1" latinLnBrk="0" hangingPunct="1">
              <a:defRPr sz="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685800" algn="l" defTabSz="228600" rtl="0" eaLnBrk="1" latinLnBrk="0" hangingPunct="1">
              <a:defRPr sz="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914400" algn="l" defTabSz="228600" rtl="0" eaLnBrk="1" latinLnBrk="0" hangingPunct="1">
              <a:defRPr sz="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143000" algn="l" defTabSz="228600" rtl="0" eaLnBrk="1" latinLnBrk="0" hangingPunct="1">
              <a:defRPr sz="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1371600" algn="l" defTabSz="228600" rtl="0" eaLnBrk="1" latinLnBrk="0" hangingPunct="1">
              <a:defRPr sz="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1600200" algn="l" defTabSz="228600" rtl="0" eaLnBrk="1" latinLnBrk="0" hangingPunct="1">
              <a:defRPr sz="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1828800" algn="l" defTabSz="228600" rtl="0" eaLnBrk="1" latinLnBrk="0" hangingPunct="1">
              <a:defRPr sz="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128590">
              <a:lnSpc>
                <a:spcPct val="110000"/>
              </a:lnSpc>
              <a:spcAft>
                <a:spcPts val="338"/>
              </a:spcAft>
              <a:defRPr/>
            </a:pPr>
            <a:r>
              <a:rPr lang="nb-NO" sz="1050" b="1" noProof="0">
                <a:solidFill>
                  <a:prstClr val="black"/>
                </a:solidFill>
                <a:latin typeface="Innovation Norway"/>
              </a:rPr>
              <a:t>Adventure og Adventure Light</a:t>
            </a:r>
          </a:p>
          <a:p>
            <a:pPr marL="171450" indent="-171450" defTabSz="128590">
              <a:lnSpc>
                <a:spcPct val="110000"/>
              </a:lnSpc>
              <a:spcAft>
                <a:spcPts val="338"/>
              </a:spcAft>
              <a:buFont typeface="Arial" panose="020B0604020202020204" pitchFamily="34" charset="0"/>
              <a:buChar char="•"/>
              <a:defRPr/>
            </a:pPr>
            <a:r>
              <a:rPr lang="nb-NO" sz="1050" noProof="0">
                <a:solidFill>
                  <a:prstClr val="black"/>
                </a:solidFill>
                <a:latin typeface="Innovation Norway"/>
              </a:rPr>
              <a:t>Mer </a:t>
            </a:r>
            <a:r>
              <a:rPr lang="nb-NO" sz="1050">
                <a:solidFill>
                  <a:prstClr val="black"/>
                </a:solidFill>
                <a:latin typeface="Innovation Norway"/>
              </a:rPr>
              <a:t>vakker natur</a:t>
            </a:r>
          </a:p>
          <a:p>
            <a:pPr marL="171450" indent="-171450" defTabSz="128590">
              <a:lnSpc>
                <a:spcPct val="110000"/>
              </a:lnSpc>
              <a:spcAft>
                <a:spcPts val="338"/>
              </a:spcAft>
              <a:buFont typeface="Arial" panose="020B0604020202020204" pitchFamily="34" charset="0"/>
              <a:buChar char="•"/>
              <a:defRPr/>
            </a:pPr>
            <a:r>
              <a:rPr lang="nb-NO" sz="1050">
                <a:solidFill>
                  <a:prstClr val="black"/>
                </a:solidFill>
              </a:rPr>
              <a:t>Adventure Light; mer event og mulighet for å dyrke interesser</a:t>
            </a:r>
            <a:r>
              <a:rPr lang="nb-NO" sz="1050" b="1" noProof="0">
                <a:solidFill>
                  <a:prstClr val="black"/>
                </a:solidFill>
                <a:latin typeface="Innovation Norway"/>
              </a:rPr>
              <a:t> </a:t>
            </a:r>
            <a:endParaRPr lang="nb-NO" noProof="0">
              <a:solidFill>
                <a:prstClr val="black"/>
              </a:solidFill>
            </a:endParaRPr>
          </a:p>
        </p:txBody>
      </p:sp>
      <p:sp>
        <p:nvSpPr>
          <p:cNvPr id="17" name="Rectangle 10">
            <a:extLst>
              <a:ext uri="{FF2B5EF4-FFF2-40B4-BE49-F238E27FC236}">
                <a16:creationId xmlns:a16="http://schemas.microsoft.com/office/drawing/2014/main" id="{B76F3EF1-C610-5209-8C5E-8E9163F32658}"/>
              </a:ext>
            </a:extLst>
          </p:cNvPr>
          <p:cNvSpPr/>
          <p:nvPr/>
        </p:nvSpPr>
        <p:spPr>
          <a:xfrm>
            <a:off x="1225550" y="8380265"/>
            <a:ext cx="2710132" cy="81746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228600" rtl="0" eaLnBrk="1" latinLnBrk="0" hangingPunct="1">
              <a:defRPr sz="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228600" algn="l" defTabSz="228600" rtl="0" eaLnBrk="1" latinLnBrk="0" hangingPunct="1">
              <a:defRPr sz="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457200" algn="l" defTabSz="228600" rtl="0" eaLnBrk="1" latinLnBrk="0" hangingPunct="1">
              <a:defRPr sz="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685800" algn="l" defTabSz="228600" rtl="0" eaLnBrk="1" latinLnBrk="0" hangingPunct="1">
              <a:defRPr sz="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914400" algn="l" defTabSz="228600" rtl="0" eaLnBrk="1" latinLnBrk="0" hangingPunct="1">
              <a:defRPr sz="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143000" algn="l" defTabSz="228600" rtl="0" eaLnBrk="1" latinLnBrk="0" hangingPunct="1">
              <a:defRPr sz="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1371600" algn="l" defTabSz="228600" rtl="0" eaLnBrk="1" latinLnBrk="0" hangingPunct="1">
              <a:defRPr sz="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1600200" algn="l" defTabSz="228600" rtl="0" eaLnBrk="1" latinLnBrk="0" hangingPunct="1">
              <a:defRPr sz="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1828800" algn="l" defTabSz="228600" rtl="0" eaLnBrk="1" latinLnBrk="0" hangingPunct="1">
              <a:defRPr sz="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128590">
              <a:lnSpc>
                <a:spcPct val="110000"/>
              </a:lnSpc>
              <a:spcAft>
                <a:spcPts val="338"/>
              </a:spcAft>
              <a:defRPr/>
            </a:pPr>
            <a:r>
              <a:rPr lang="nb-NO" sz="1050" b="1" noProof="0">
                <a:solidFill>
                  <a:prstClr val="black"/>
                </a:solidFill>
                <a:latin typeface="Innovation Norway"/>
              </a:rPr>
              <a:t>Komfortabel Avslapping og Luksuriøs velvære</a:t>
            </a:r>
          </a:p>
          <a:p>
            <a:pPr marL="171450" indent="-171450" defTabSz="128590">
              <a:lnSpc>
                <a:spcPct val="110000"/>
              </a:lnSpc>
              <a:spcAft>
                <a:spcPts val="338"/>
              </a:spcAft>
              <a:buFont typeface="Arial" panose="020B0604020202020204" pitchFamily="34" charset="0"/>
              <a:buChar char="•"/>
              <a:defRPr/>
            </a:pPr>
            <a:r>
              <a:rPr lang="nb-NO" sz="1050">
                <a:solidFill>
                  <a:prstClr val="black"/>
                </a:solidFill>
                <a:latin typeface="Innovation Norway"/>
              </a:rPr>
              <a:t>1 av 10 ferier blant de yngste</a:t>
            </a:r>
          </a:p>
          <a:p>
            <a:pPr marL="171450" indent="-171450" defTabSz="128590">
              <a:lnSpc>
                <a:spcPct val="110000"/>
              </a:lnSpc>
              <a:spcAft>
                <a:spcPts val="338"/>
              </a:spcAft>
              <a:buFont typeface="Arial" panose="020B0604020202020204" pitchFamily="34" charset="0"/>
              <a:buChar char="•"/>
              <a:defRPr/>
            </a:pPr>
            <a:r>
              <a:rPr lang="nb-NO" sz="1050">
                <a:solidFill>
                  <a:prstClr val="black"/>
                </a:solidFill>
              </a:rPr>
              <a:t>Mer opptatt av luksuriøs nytelse, </a:t>
            </a:r>
          </a:p>
          <a:p>
            <a:pPr marL="171450" indent="-171450" defTabSz="128590">
              <a:lnSpc>
                <a:spcPct val="110000"/>
              </a:lnSpc>
              <a:spcAft>
                <a:spcPts val="338"/>
              </a:spcAft>
              <a:buFont typeface="Arial" panose="020B0604020202020204" pitchFamily="34" charset="0"/>
              <a:buChar char="•"/>
              <a:defRPr/>
            </a:pPr>
            <a:r>
              <a:rPr lang="nb-NO" sz="1050">
                <a:solidFill>
                  <a:prstClr val="black"/>
                </a:solidFill>
              </a:rPr>
              <a:t>Mer sol og bad, men ikke for varmt</a:t>
            </a:r>
          </a:p>
        </p:txBody>
      </p:sp>
      <p:graphicFrame>
        <p:nvGraphicFramePr>
          <p:cNvPr id="7" name="Diagram 6">
            <a:extLst>
              <a:ext uri="{FF2B5EF4-FFF2-40B4-BE49-F238E27FC236}">
                <a16:creationId xmlns:a16="http://schemas.microsoft.com/office/drawing/2014/main" id="{556BCBDC-FEE9-C672-5A0B-F92EBDC45006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860423119"/>
              </p:ext>
            </p:extLst>
          </p:nvPr>
        </p:nvGraphicFramePr>
        <p:xfrm>
          <a:off x="5252064" y="2285525"/>
          <a:ext cx="1545710" cy="512511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3"/>
          </a:graphicData>
        </a:graphic>
      </p:graphicFrame>
      <p:cxnSp>
        <p:nvCxnSpPr>
          <p:cNvPr id="90" name="Lige forbindelse 89">
            <a:extLst>
              <a:ext uri="{FF2B5EF4-FFF2-40B4-BE49-F238E27FC236}">
                <a16:creationId xmlns:a16="http://schemas.microsoft.com/office/drawing/2014/main" id="{DE0CCF7D-28F4-DC3A-BC75-FC9D2D29FD3D}"/>
              </a:ext>
            </a:extLst>
          </p:cNvPr>
          <p:cNvCxnSpPr>
            <a:cxnSpLocks/>
          </p:cNvCxnSpPr>
          <p:nvPr/>
        </p:nvCxnSpPr>
        <p:spPr>
          <a:xfrm flipH="1">
            <a:off x="4328674" y="2153839"/>
            <a:ext cx="2186426" cy="0"/>
          </a:xfrm>
          <a:prstGeom prst="line">
            <a:avLst/>
          </a:prstGeom>
          <a:ln w="6350">
            <a:solidFill>
              <a:srgbClr val="BDD7EE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0" name="Lige forbindelse 99">
            <a:extLst>
              <a:ext uri="{FF2B5EF4-FFF2-40B4-BE49-F238E27FC236}">
                <a16:creationId xmlns:a16="http://schemas.microsoft.com/office/drawing/2014/main" id="{42F0C77A-0766-BEAE-4B17-992C9B40793C}"/>
              </a:ext>
            </a:extLst>
          </p:cNvPr>
          <p:cNvCxnSpPr>
            <a:cxnSpLocks/>
          </p:cNvCxnSpPr>
          <p:nvPr/>
        </p:nvCxnSpPr>
        <p:spPr>
          <a:xfrm flipH="1">
            <a:off x="4328674" y="7410639"/>
            <a:ext cx="2186426" cy="0"/>
          </a:xfrm>
          <a:prstGeom prst="line">
            <a:avLst/>
          </a:prstGeom>
          <a:ln w="6350">
            <a:solidFill>
              <a:srgbClr val="BDD7EE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152">
            <a:extLst>
              <a:ext uri="{FF2B5EF4-FFF2-40B4-BE49-F238E27FC236}">
                <a16:creationId xmlns:a16="http://schemas.microsoft.com/office/drawing/2014/main" id="{EC83CF6B-C8EC-5644-B056-1623CF428396}"/>
              </a:ext>
            </a:extLst>
          </p:cNvPr>
          <p:cNvGrpSpPr/>
          <p:nvPr/>
        </p:nvGrpSpPr>
        <p:grpSpPr>
          <a:xfrm>
            <a:off x="4343399" y="7886811"/>
            <a:ext cx="1115161" cy="410244"/>
            <a:chOff x="823409" y="3307059"/>
            <a:chExt cx="1372096" cy="420736"/>
          </a:xfrm>
        </p:grpSpPr>
        <p:sp>
          <p:nvSpPr>
            <p:cNvPr id="6" name="Rectangle 153">
              <a:extLst>
                <a:ext uri="{FF2B5EF4-FFF2-40B4-BE49-F238E27FC236}">
                  <a16:creationId xmlns:a16="http://schemas.microsoft.com/office/drawing/2014/main" id="{C11ABFFC-28FE-C99F-C0AE-9DB0BEF4028C}"/>
                </a:ext>
              </a:extLst>
            </p:cNvPr>
            <p:cNvSpPr/>
            <p:nvPr/>
          </p:nvSpPr>
          <p:spPr>
            <a:xfrm>
              <a:off x="823409" y="3307059"/>
              <a:ext cx="1346237" cy="189389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t">
              <a:spAutoFit/>
            </a:bodyPr>
            <a:lstStyle/>
            <a:p>
              <a:pPr algn="ctr" fontAlgn="b"/>
              <a:r>
                <a:rPr lang="nb-NO" sz="1200" b="1" noProof="0">
                  <a:solidFill>
                    <a:schemeClr val="accent1">
                      <a:lumMod val="40000"/>
                      <a:lumOff val="60000"/>
                    </a:schemeClr>
                  </a:solidFill>
                  <a:latin typeface="Innovation Norway" panose="020B0500030000000000"/>
                </a:rPr>
                <a:t>40</a:t>
              </a:r>
              <a:r>
                <a:rPr lang="nb-NO" sz="1200" b="1" u="none" strike="noStrike" noProof="0">
                  <a:solidFill>
                    <a:schemeClr val="accent1">
                      <a:lumMod val="40000"/>
                      <a:lumOff val="60000"/>
                    </a:schemeClr>
                  </a:solidFill>
                  <a:effectLst/>
                  <a:latin typeface="Innovation Norway" panose="020B0500030000000000"/>
                </a:rPr>
                <a:t>% </a:t>
              </a:r>
              <a:r>
                <a:rPr lang="nb-NO" sz="1200" u="none" strike="noStrike" noProof="0">
                  <a:solidFill>
                    <a:schemeClr val="accent3">
                      <a:lumMod val="75000"/>
                    </a:schemeClr>
                  </a:solidFill>
                  <a:effectLst/>
                  <a:latin typeface="Innovation Norway" panose="020B0500030000000000"/>
                </a:rPr>
                <a:t>/ </a:t>
              </a:r>
              <a:r>
                <a:rPr lang="nb-NO" sz="1200" u="none" strike="noStrike">
                  <a:solidFill>
                    <a:schemeClr val="accent3">
                      <a:lumMod val="75000"/>
                    </a:schemeClr>
                  </a:solidFill>
                  <a:effectLst/>
                  <a:latin typeface="Innovation Norway" panose="020B0500030000000000"/>
                </a:rPr>
                <a:t>33</a:t>
              </a:r>
              <a:r>
                <a:rPr lang="nb-NO" sz="1200" u="none" strike="noStrike" noProof="0">
                  <a:solidFill>
                    <a:schemeClr val="accent3">
                      <a:lumMod val="75000"/>
                    </a:schemeClr>
                  </a:solidFill>
                  <a:effectLst/>
                  <a:latin typeface="Innovation Norway" panose="020B0500030000000000"/>
                </a:rPr>
                <a:t>% </a:t>
              </a:r>
              <a:endParaRPr lang="nb-NO" sz="1200" i="0" u="none" strike="noStrike" noProof="0">
                <a:solidFill>
                  <a:schemeClr val="accent3">
                    <a:lumMod val="75000"/>
                  </a:schemeClr>
                </a:solidFill>
                <a:effectLst/>
                <a:latin typeface="Innovation Norway" panose="020B0500030000000000"/>
              </a:endParaRPr>
            </a:p>
          </p:txBody>
        </p:sp>
        <p:sp>
          <p:nvSpPr>
            <p:cNvPr id="10" name="Rectangle 154">
              <a:extLst>
                <a:ext uri="{FF2B5EF4-FFF2-40B4-BE49-F238E27FC236}">
                  <a16:creationId xmlns:a16="http://schemas.microsoft.com/office/drawing/2014/main" id="{FCE510AE-BC18-7FD9-1562-C104FDD9691C}"/>
                </a:ext>
              </a:extLst>
            </p:cNvPr>
            <p:cNvSpPr/>
            <p:nvPr/>
          </p:nvSpPr>
          <p:spPr>
            <a:xfrm>
              <a:off x="841772" y="3562079"/>
              <a:ext cx="1353733" cy="165716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t">
              <a:spAutoFit/>
            </a:bodyPr>
            <a:lstStyle/>
            <a:p>
              <a:pPr algn="ctr" fontAlgn="b"/>
              <a:r>
                <a:rPr lang="nb-NO" sz="1050" u="none" strike="noStrike" noProof="0">
                  <a:solidFill>
                    <a:schemeClr val="tx1"/>
                  </a:solidFill>
                  <a:effectLst/>
                  <a:latin typeface="Innovation Norway" panose="020B0500030000000000"/>
                </a:rPr>
                <a:t>55 år eller eldre</a:t>
              </a:r>
            </a:p>
          </p:txBody>
        </p:sp>
      </p:grpSp>
      <p:grpSp>
        <p:nvGrpSpPr>
          <p:cNvPr id="22" name="Group 152">
            <a:extLst>
              <a:ext uri="{FF2B5EF4-FFF2-40B4-BE49-F238E27FC236}">
                <a16:creationId xmlns:a16="http://schemas.microsoft.com/office/drawing/2014/main" id="{20A11617-5F00-B189-B82D-B3F2F5045F5D}"/>
              </a:ext>
            </a:extLst>
          </p:cNvPr>
          <p:cNvGrpSpPr/>
          <p:nvPr/>
        </p:nvGrpSpPr>
        <p:grpSpPr>
          <a:xfrm>
            <a:off x="5458560" y="7886701"/>
            <a:ext cx="1120407" cy="405932"/>
            <a:chOff x="823409" y="3307059"/>
            <a:chExt cx="1353733" cy="416314"/>
          </a:xfrm>
        </p:grpSpPr>
        <p:sp>
          <p:nvSpPr>
            <p:cNvPr id="23" name="Rectangle 153">
              <a:extLst>
                <a:ext uri="{FF2B5EF4-FFF2-40B4-BE49-F238E27FC236}">
                  <a16:creationId xmlns:a16="http://schemas.microsoft.com/office/drawing/2014/main" id="{DAB554AC-241B-19DC-0907-9FC30B8346F7}"/>
                </a:ext>
              </a:extLst>
            </p:cNvPr>
            <p:cNvSpPr/>
            <p:nvPr/>
          </p:nvSpPr>
          <p:spPr>
            <a:xfrm>
              <a:off x="823409" y="3307059"/>
              <a:ext cx="1346237" cy="189389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t">
              <a:spAutoFit/>
            </a:bodyPr>
            <a:lstStyle/>
            <a:p>
              <a:pPr algn="ctr" fontAlgn="b"/>
              <a:r>
                <a:rPr lang="nb-NO" sz="1200" b="1">
                  <a:solidFill>
                    <a:schemeClr val="accent1">
                      <a:lumMod val="40000"/>
                      <a:lumOff val="60000"/>
                    </a:schemeClr>
                  </a:solidFill>
                  <a:latin typeface="Innovation Norway" panose="020B0500030000000000"/>
                </a:rPr>
                <a:t>4,6 </a:t>
              </a:r>
              <a:r>
                <a:rPr lang="nb-NO" sz="1200" u="none" strike="noStrike" noProof="0">
                  <a:solidFill>
                    <a:schemeClr val="accent3">
                      <a:lumMod val="75000"/>
                    </a:schemeClr>
                  </a:solidFill>
                  <a:effectLst/>
                  <a:latin typeface="Innovation Norway" panose="020B0500030000000000"/>
                </a:rPr>
                <a:t>/ </a:t>
              </a:r>
              <a:r>
                <a:rPr lang="nb-NO" sz="1200" u="none" strike="noStrike">
                  <a:solidFill>
                    <a:schemeClr val="accent3">
                      <a:lumMod val="75000"/>
                    </a:schemeClr>
                  </a:solidFill>
                  <a:effectLst/>
                  <a:latin typeface="Innovation Norway" panose="020B0500030000000000"/>
                </a:rPr>
                <a:t>3,9</a:t>
              </a:r>
              <a:r>
                <a:rPr lang="nb-NO" sz="1200" u="none" strike="noStrike" noProof="0">
                  <a:solidFill>
                    <a:schemeClr val="accent3">
                      <a:lumMod val="75000"/>
                    </a:schemeClr>
                  </a:solidFill>
                  <a:effectLst/>
                  <a:latin typeface="Innovation Norway" panose="020B0500030000000000"/>
                </a:rPr>
                <a:t> </a:t>
              </a:r>
              <a:endParaRPr lang="nb-NO" sz="1200" i="0" u="none" strike="noStrike" noProof="0">
                <a:solidFill>
                  <a:schemeClr val="accent3">
                    <a:lumMod val="75000"/>
                  </a:schemeClr>
                </a:solidFill>
                <a:effectLst/>
                <a:latin typeface="Innovation Norway" panose="020B0500030000000000"/>
              </a:endParaRPr>
            </a:p>
          </p:txBody>
        </p:sp>
        <p:sp>
          <p:nvSpPr>
            <p:cNvPr id="24" name="Rectangle 154">
              <a:extLst>
                <a:ext uri="{FF2B5EF4-FFF2-40B4-BE49-F238E27FC236}">
                  <a16:creationId xmlns:a16="http://schemas.microsoft.com/office/drawing/2014/main" id="{14F378AB-D220-F956-91C0-DA7F92B86748}"/>
                </a:ext>
              </a:extLst>
            </p:cNvPr>
            <p:cNvSpPr/>
            <p:nvPr/>
          </p:nvSpPr>
          <p:spPr>
            <a:xfrm>
              <a:off x="823409" y="3557657"/>
              <a:ext cx="1353733" cy="165716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t">
              <a:spAutoFit/>
            </a:bodyPr>
            <a:lstStyle/>
            <a:p>
              <a:pPr algn="ctr" fontAlgn="b"/>
              <a:r>
                <a:rPr lang="nb-NO" sz="1050">
                  <a:solidFill>
                    <a:schemeClr val="tx1"/>
                  </a:solidFill>
                  <a:latin typeface="Innovation Norway" panose="020B0500030000000000"/>
                </a:rPr>
                <a:t>Antall reiser</a:t>
              </a:r>
              <a:endParaRPr lang="nb-NO" sz="1050" u="none" strike="noStrike" noProof="0">
                <a:solidFill>
                  <a:schemeClr val="tx1"/>
                </a:solidFill>
                <a:effectLst/>
                <a:latin typeface="Innovation Norway" panose="020B0500030000000000"/>
              </a:endParaRPr>
            </a:p>
          </p:txBody>
        </p:sp>
      </p:grpSp>
      <p:grpSp>
        <p:nvGrpSpPr>
          <p:cNvPr id="30" name="Group 152">
            <a:extLst>
              <a:ext uri="{FF2B5EF4-FFF2-40B4-BE49-F238E27FC236}">
                <a16:creationId xmlns:a16="http://schemas.microsoft.com/office/drawing/2014/main" id="{36512C46-9530-1DE9-98E5-23BA898338F7}"/>
              </a:ext>
            </a:extLst>
          </p:cNvPr>
          <p:cNvGrpSpPr/>
          <p:nvPr/>
        </p:nvGrpSpPr>
        <p:grpSpPr>
          <a:xfrm>
            <a:off x="4343399" y="8610677"/>
            <a:ext cx="1115161" cy="573613"/>
            <a:chOff x="823409" y="3307059"/>
            <a:chExt cx="1372096" cy="584085"/>
          </a:xfrm>
        </p:grpSpPr>
        <p:sp>
          <p:nvSpPr>
            <p:cNvPr id="31" name="Rectangle 153">
              <a:extLst>
                <a:ext uri="{FF2B5EF4-FFF2-40B4-BE49-F238E27FC236}">
                  <a16:creationId xmlns:a16="http://schemas.microsoft.com/office/drawing/2014/main" id="{BA65E13D-A67D-BAE9-F437-2563C66BE909}"/>
                </a:ext>
              </a:extLst>
            </p:cNvPr>
            <p:cNvSpPr/>
            <p:nvPr/>
          </p:nvSpPr>
          <p:spPr>
            <a:xfrm>
              <a:off x="823409" y="3307059"/>
              <a:ext cx="1346237" cy="188037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t">
              <a:spAutoFit/>
            </a:bodyPr>
            <a:lstStyle/>
            <a:p>
              <a:pPr algn="ctr" fontAlgn="b"/>
              <a:r>
                <a:rPr lang="nb-NO" sz="1200" b="1" u="none" strike="noStrike" noProof="0">
                  <a:solidFill>
                    <a:schemeClr val="accent1">
                      <a:lumMod val="40000"/>
                      <a:lumOff val="60000"/>
                    </a:schemeClr>
                  </a:solidFill>
                  <a:effectLst/>
                  <a:latin typeface="Innovation Norway" panose="020B0500030000000000"/>
                </a:rPr>
                <a:t>75%</a:t>
              </a:r>
              <a:r>
                <a:rPr lang="nb-NO" sz="1200" b="1" u="none" strike="noStrike" noProof="0">
                  <a:solidFill>
                    <a:srgbClr val="5B9BD5"/>
                  </a:solidFill>
                  <a:effectLst/>
                  <a:latin typeface="Innovation Norway" panose="020B0500030000000000"/>
                </a:rPr>
                <a:t> </a:t>
              </a:r>
              <a:r>
                <a:rPr lang="nb-NO" sz="1200" u="none" strike="noStrike" noProof="0">
                  <a:solidFill>
                    <a:schemeClr val="accent3">
                      <a:lumMod val="75000"/>
                    </a:schemeClr>
                  </a:solidFill>
                  <a:effectLst/>
                  <a:latin typeface="Innovation Norway" panose="020B0500030000000000"/>
                </a:rPr>
                <a:t>/ </a:t>
              </a:r>
              <a:r>
                <a:rPr lang="nb-NO" sz="1200" u="none" strike="noStrike">
                  <a:solidFill>
                    <a:schemeClr val="accent3">
                      <a:lumMod val="75000"/>
                    </a:schemeClr>
                  </a:solidFill>
                  <a:effectLst/>
                  <a:latin typeface="Innovation Norway" panose="020B0500030000000000"/>
                </a:rPr>
                <a:t>70</a:t>
              </a:r>
              <a:r>
                <a:rPr lang="nb-NO" sz="1200" u="none" strike="noStrike" noProof="0">
                  <a:solidFill>
                    <a:schemeClr val="accent3">
                      <a:lumMod val="75000"/>
                    </a:schemeClr>
                  </a:solidFill>
                  <a:effectLst/>
                  <a:latin typeface="Innovation Norway" panose="020B0500030000000000"/>
                </a:rPr>
                <a:t>% </a:t>
              </a:r>
              <a:endParaRPr lang="nb-NO" sz="1200" i="0" u="none" strike="noStrike" noProof="0">
                <a:solidFill>
                  <a:schemeClr val="accent3">
                    <a:lumMod val="75000"/>
                  </a:schemeClr>
                </a:solidFill>
                <a:effectLst/>
                <a:latin typeface="Innovation Norway" panose="020B0500030000000000"/>
              </a:endParaRPr>
            </a:p>
          </p:txBody>
        </p:sp>
        <p:sp>
          <p:nvSpPr>
            <p:cNvPr id="32" name="Rectangle 154">
              <a:extLst>
                <a:ext uri="{FF2B5EF4-FFF2-40B4-BE49-F238E27FC236}">
                  <a16:creationId xmlns:a16="http://schemas.microsoft.com/office/drawing/2014/main" id="{38912E38-E6DE-ABA0-DCE6-6A8E1A571290}"/>
                </a:ext>
              </a:extLst>
            </p:cNvPr>
            <p:cNvSpPr/>
            <p:nvPr/>
          </p:nvSpPr>
          <p:spPr>
            <a:xfrm>
              <a:off x="841772" y="3562079"/>
              <a:ext cx="1353733" cy="329065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t">
              <a:spAutoFit/>
            </a:bodyPr>
            <a:lstStyle/>
            <a:p>
              <a:pPr algn="ctr" fontAlgn="b"/>
              <a:r>
                <a:rPr lang="nb-NO" sz="1050" u="none" strike="noStrike" noProof="0">
                  <a:solidFill>
                    <a:schemeClr val="tx1"/>
                  </a:solidFill>
                  <a:effectLst/>
                  <a:latin typeface="Innovation Norway" panose="020B0500030000000000"/>
                </a:rPr>
                <a:t>Korte ferier,</a:t>
              </a:r>
              <a:br>
                <a:rPr lang="nb-NO" sz="1050" u="none" strike="noStrike" noProof="0">
                  <a:solidFill>
                    <a:schemeClr val="tx1"/>
                  </a:solidFill>
                  <a:effectLst/>
                  <a:latin typeface="Innovation Norway" panose="020B0500030000000000"/>
                </a:rPr>
              </a:br>
              <a:r>
                <a:rPr lang="nb-NO" sz="1050" u="none" strike="noStrike" noProof="0">
                  <a:solidFill>
                    <a:schemeClr val="tx1"/>
                  </a:solidFill>
                  <a:effectLst/>
                  <a:latin typeface="Innovation Norway" panose="020B0500030000000000"/>
                </a:rPr>
                <a:t>1-7 overnattinger</a:t>
              </a:r>
            </a:p>
          </p:txBody>
        </p:sp>
      </p:grpSp>
      <p:grpSp>
        <p:nvGrpSpPr>
          <p:cNvPr id="33" name="Group 152">
            <a:extLst>
              <a:ext uri="{FF2B5EF4-FFF2-40B4-BE49-F238E27FC236}">
                <a16:creationId xmlns:a16="http://schemas.microsoft.com/office/drawing/2014/main" id="{2AA50FAA-9C16-666C-9E5E-BFD96447DBA2}"/>
              </a:ext>
            </a:extLst>
          </p:cNvPr>
          <p:cNvGrpSpPr/>
          <p:nvPr/>
        </p:nvGrpSpPr>
        <p:grpSpPr>
          <a:xfrm>
            <a:off x="5458560" y="8610599"/>
            <a:ext cx="1120407" cy="407688"/>
            <a:chOff x="823409" y="3307059"/>
            <a:chExt cx="1353733" cy="415131"/>
          </a:xfrm>
        </p:grpSpPr>
        <p:sp>
          <p:nvSpPr>
            <p:cNvPr id="34" name="Rectangle 153">
              <a:extLst>
                <a:ext uri="{FF2B5EF4-FFF2-40B4-BE49-F238E27FC236}">
                  <a16:creationId xmlns:a16="http://schemas.microsoft.com/office/drawing/2014/main" id="{108512C1-92DA-9112-BB17-EACF99FDF0FF}"/>
                </a:ext>
              </a:extLst>
            </p:cNvPr>
            <p:cNvSpPr/>
            <p:nvPr/>
          </p:nvSpPr>
          <p:spPr>
            <a:xfrm>
              <a:off x="823409" y="3307059"/>
              <a:ext cx="1346237" cy="188037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t">
              <a:spAutoFit/>
            </a:bodyPr>
            <a:lstStyle/>
            <a:p>
              <a:pPr algn="ctr" fontAlgn="b"/>
              <a:r>
                <a:rPr lang="nb-NO" sz="1200" b="1" u="none" strike="noStrike" noProof="0">
                  <a:solidFill>
                    <a:schemeClr val="accent1">
                      <a:lumMod val="40000"/>
                      <a:lumOff val="60000"/>
                    </a:schemeClr>
                  </a:solidFill>
                  <a:effectLst/>
                  <a:latin typeface="Innovation Norway" panose="020B0500030000000000"/>
                </a:rPr>
                <a:t>25%</a:t>
              </a:r>
              <a:r>
                <a:rPr lang="nb-NO" sz="1200" b="1" u="none" strike="noStrike" noProof="0">
                  <a:solidFill>
                    <a:srgbClr val="5B9BD5"/>
                  </a:solidFill>
                  <a:effectLst/>
                  <a:latin typeface="Innovation Norway" panose="020B0500030000000000"/>
                </a:rPr>
                <a:t> </a:t>
              </a:r>
              <a:r>
                <a:rPr lang="nb-NO" sz="1200" u="none" strike="noStrike" noProof="0">
                  <a:solidFill>
                    <a:schemeClr val="accent3">
                      <a:lumMod val="75000"/>
                    </a:schemeClr>
                  </a:solidFill>
                  <a:effectLst/>
                  <a:latin typeface="Innovation Norway" panose="020B0500030000000000"/>
                </a:rPr>
                <a:t>/ </a:t>
              </a:r>
              <a:r>
                <a:rPr lang="nb-NO" sz="1200" u="none" strike="noStrike">
                  <a:solidFill>
                    <a:schemeClr val="accent3">
                      <a:lumMod val="75000"/>
                    </a:schemeClr>
                  </a:solidFill>
                  <a:effectLst/>
                  <a:latin typeface="Innovation Norway" panose="020B0500030000000000"/>
                </a:rPr>
                <a:t>35</a:t>
              </a:r>
              <a:r>
                <a:rPr lang="nb-NO" sz="1200" u="none" strike="noStrike" noProof="0">
                  <a:solidFill>
                    <a:schemeClr val="accent3">
                      <a:lumMod val="75000"/>
                    </a:schemeClr>
                  </a:solidFill>
                  <a:effectLst/>
                  <a:latin typeface="Innovation Norway" panose="020B0500030000000000"/>
                </a:rPr>
                <a:t>% </a:t>
              </a:r>
              <a:endParaRPr lang="nb-NO" sz="1200" i="0" u="none" strike="noStrike" noProof="0">
                <a:solidFill>
                  <a:schemeClr val="accent3">
                    <a:lumMod val="75000"/>
                  </a:schemeClr>
                </a:solidFill>
                <a:effectLst/>
                <a:latin typeface="Innovation Norway" panose="020B0500030000000000"/>
              </a:endParaRPr>
            </a:p>
          </p:txBody>
        </p:sp>
        <p:sp>
          <p:nvSpPr>
            <p:cNvPr id="62" name="Rectangle 154">
              <a:extLst>
                <a:ext uri="{FF2B5EF4-FFF2-40B4-BE49-F238E27FC236}">
                  <a16:creationId xmlns:a16="http://schemas.microsoft.com/office/drawing/2014/main" id="{7A3A93A0-3C90-04C1-A9CD-2B49E69321AF}"/>
                </a:ext>
              </a:extLst>
            </p:cNvPr>
            <p:cNvSpPr/>
            <p:nvPr/>
          </p:nvSpPr>
          <p:spPr>
            <a:xfrm>
              <a:off x="823409" y="3557657"/>
              <a:ext cx="1353733" cy="164533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t">
              <a:spAutoFit/>
            </a:bodyPr>
            <a:lstStyle/>
            <a:p>
              <a:pPr algn="ctr" fontAlgn="b"/>
              <a:r>
                <a:rPr lang="nb-NO" sz="1050" u="none" strike="noStrike" noProof="0">
                  <a:solidFill>
                    <a:schemeClr val="tx1"/>
                  </a:solidFill>
                  <a:effectLst/>
                  <a:latin typeface="Innovation Norway" panose="020B0500030000000000"/>
                </a:rPr>
                <a:t>Andel pakkereise</a:t>
              </a:r>
            </a:p>
          </p:txBody>
        </p:sp>
      </p:grpSp>
      <p:pic>
        <p:nvPicPr>
          <p:cNvPr id="64" name="Picture 126" descr="A triangular object with a black background&#10;&#10;Description automatically generated">
            <a:extLst>
              <a:ext uri="{FF2B5EF4-FFF2-40B4-BE49-F238E27FC236}">
                <a16:creationId xmlns:a16="http://schemas.microsoft.com/office/drawing/2014/main" id="{70CAF424-502B-9557-4D97-7428886B554C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2357" y="6238754"/>
            <a:ext cx="634182" cy="475636"/>
          </a:xfrm>
          <a:prstGeom prst="rect">
            <a:avLst/>
          </a:prstGeom>
        </p:spPr>
      </p:pic>
      <p:pic>
        <p:nvPicPr>
          <p:cNvPr id="67" name="Picture 2" descr="A green and white arrow&#10;&#10;Description automatically generated">
            <a:extLst>
              <a:ext uri="{FF2B5EF4-FFF2-40B4-BE49-F238E27FC236}">
                <a16:creationId xmlns:a16="http://schemas.microsoft.com/office/drawing/2014/main" id="{FCFDF88B-AE16-B956-2989-605DE6CF9389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6890" y="6293018"/>
            <a:ext cx="544683" cy="408513"/>
          </a:xfrm>
          <a:prstGeom prst="rect">
            <a:avLst/>
          </a:prstGeom>
        </p:spPr>
      </p:pic>
      <p:grpSp>
        <p:nvGrpSpPr>
          <p:cNvPr id="20" name="Group 19">
            <a:extLst>
              <a:ext uri="{FF2B5EF4-FFF2-40B4-BE49-F238E27FC236}">
                <a16:creationId xmlns:a16="http://schemas.microsoft.com/office/drawing/2014/main" id="{0F5875BE-9259-DB13-40F7-23D295CDDD7F}"/>
              </a:ext>
            </a:extLst>
          </p:cNvPr>
          <p:cNvGrpSpPr/>
          <p:nvPr/>
        </p:nvGrpSpPr>
        <p:grpSpPr>
          <a:xfrm>
            <a:off x="217301" y="3121579"/>
            <a:ext cx="1005447" cy="907248"/>
            <a:chOff x="217301" y="3007465"/>
            <a:chExt cx="1005447" cy="907248"/>
          </a:xfrm>
        </p:grpSpPr>
        <p:pic>
          <p:nvPicPr>
            <p:cNvPr id="21" name="Picture 9" descr="A pink and white object on a black background&#10;&#10;Description automatically generated">
              <a:extLst>
                <a:ext uri="{FF2B5EF4-FFF2-40B4-BE49-F238E27FC236}">
                  <a16:creationId xmlns:a16="http://schemas.microsoft.com/office/drawing/2014/main" id="{76EC0CB5-3510-00FC-C99A-653947A4B847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47916" y="3096571"/>
              <a:ext cx="367405" cy="275554"/>
            </a:xfrm>
            <a:prstGeom prst="rect">
              <a:avLst/>
            </a:prstGeom>
          </p:spPr>
        </p:pic>
        <p:pic>
          <p:nvPicPr>
            <p:cNvPr id="40" name="Picture 1" descr="A red arrow with white lines&#10;&#10;Description automatically generated">
              <a:extLst>
                <a:ext uri="{FF2B5EF4-FFF2-40B4-BE49-F238E27FC236}">
                  <a16:creationId xmlns:a16="http://schemas.microsoft.com/office/drawing/2014/main" id="{0EB0F556-1F91-2EAA-842B-925C25A9F97A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17301" y="3345219"/>
              <a:ext cx="428634" cy="321475"/>
            </a:xfrm>
            <a:prstGeom prst="rect">
              <a:avLst/>
            </a:prstGeom>
          </p:spPr>
        </p:pic>
        <p:pic>
          <p:nvPicPr>
            <p:cNvPr id="53" name="Picture 10" descr="A green arrow with white outline&#10;&#10;Description automatically generated">
              <a:extLst>
                <a:ext uri="{FF2B5EF4-FFF2-40B4-BE49-F238E27FC236}">
                  <a16:creationId xmlns:a16="http://schemas.microsoft.com/office/drawing/2014/main" id="{0E5CBE4F-3254-380A-ACF0-3BF497AF4774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51281" y="3029687"/>
              <a:ext cx="482239" cy="361680"/>
            </a:xfrm>
            <a:prstGeom prst="rect">
              <a:avLst/>
            </a:prstGeom>
          </p:spPr>
        </p:pic>
        <p:pic>
          <p:nvPicPr>
            <p:cNvPr id="63" name="Picture 12" descr="A green and white arrow&#10;&#10;Description automatically generated">
              <a:extLst>
                <a:ext uri="{FF2B5EF4-FFF2-40B4-BE49-F238E27FC236}">
                  <a16:creationId xmlns:a16="http://schemas.microsoft.com/office/drawing/2014/main" id="{FED616ED-419D-3F4E-B760-9A1DC94056A0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73929" y="3644239"/>
              <a:ext cx="315377" cy="236532"/>
            </a:xfrm>
            <a:prstGeom prst="rect">
              <a:avLst/>
            </a:prstGeom>
          </p:spPr>
        </p:pic>
        <p:pic>
          <p:nvPicPr>
            <p:cNvPr id="65" name="Picture 7" descr="A yellow diamond shaped object&#10;&#10;Description automatically generated">
              <a:extLst>
                <a:ext uri="{FF2B5EF4-FFF2-40B4-BE49-F238E27FC236}">
                  <a16:creationId xmlns:a16="http://schemas.microsoft.com/office/drawing/2014/main" id="{144CB3B1-758A-A7E4-31A1-95EF7BBE86EB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66220" y="3287479"/>
              <a:ext cx="452360" cy="339270"/>
            </a:xfrm>
            <a:prstGeom prst="rect">
              <a:avLst/>
            </a:prstGeom>
          </p:spPr>
        </p:pic>
        <p:pic>
          <p:nvPicPr>
            <p:cNvPr id="66" name="Picture 9" descr="A yellow diamond shaped object&#10;&#10;Description automatically generated">
              <a:extLst>
                <a:ext uri="{FF2B5EF4-FFF2-40B4-BE49-F238E27FC236}">
                  <a16:creationId xmlns:a16="http://schemas.microsoft.com/office/drawing/2014/main" id="{300AD049-7D4C-B2C8-40CF-0289E7E81A4E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16073" y="3616280"/>
              <a:ext cx="352655" cy="264491"/>
            </a:xfrm>
            <a:prstGeom prst="rect">
              <a:avLst/>
            </a:prstGeom>
          </p:spPr>
        </p:pic>
        <p:pic>
          <p:nvPicPr>
            <p:cNvPr id="68" name="Picture 1">
              <a:extLst>
                <a:ext uri="{FF2B5EF4-FFF2-40B4-BE49-F238E27FC236}">
                  <a16:creationId xmlns:a16="http://schemas.microsoft.com/office/drawing/2014/main" id="{4320507F-ACF2-9C69-9032-D57FB5291041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81249" y="3007465"/>
              <a:ext cx="541499" cy="406124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69" name="Picture 10" descr="A white triangle with a black background&#10;&#10;Description automatically generated">
              <a:extLst>
                <a:ext uri="{FF2B5EF4-FFF2-40B4-BE49-F238E27FC236}">
                  <a16:creationId xmlns:a16="http://schemas.microsoft.com/office/drawing/2014/main" id="{9B02A651-2A3B-200D-DD70-685A3CF5D221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89652" y="3373603"/>
              <a:ext cx="324693" cy="243520"/>
            </a:xfrm>
            <a:prstGeom prst="rect">
              <a:avLst/>
            </a:prstGeom>
          </p:spPr>
        </p:pic>
        <p:pic>
          <p:nvPicPr>
            <p:cNvPr id="70" name="Picture 11" descr="A triangular object with a black background&#10;&#10;Description automatically generated">
              <a:extLst>
                <a:ext uri="{FF2B5EF4-FFF2-40B4-BE49-F238E27FC236}">
                  <a16:creationId xmlns:a16="http://schemas.microsoft.com/office/drawing/2014/main" id="{9288059D-379A-B476-626E-6F2F7E66777A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30415" y="3582338"/>
              <a:ext cx="443167" cy="332375"/>
            </a:xfrm>
            <a:prstGeom prst="rect">
              <a:avLst/>
            </a:prstGeom>
          </p:spPr>
        </p:pic>
      </p:grpSp>
      <p:cxnSp>
        <p:nvCxnSpPr>
          <p:cNvPr id="71" name="Lige forbindelse 80">
            <a:extLst>
              <a:ext uri="{FF2B5EF4-FFF2-40B4-BE49-F238E27FC236}">
                <a16:creationId xmlns:a16="http://schemas.microsoft.com/office/drawing/2014/main" id="{9B0E1288-77E0-54C2-207E-5D6AE97A8E87}"/>
              </a:ext>
            </a:extLst>
          </p:cNvPr>
          <p:cNvCxnSpPr>
            <a:cxnSpLocks/>
          </p:cNvCxnSpPr>
          <p:nvPr/>
        </p:nvCxnSpPr>
        <p:spPr>
          <a:xfrm>
            <a:off x="4133925" y="1154806"/>
            <a:ext cx="0" cy="8505106"/>
          </a:xfrm>
          <a:prstGeom prst="line">
            <a:avLst/>
          </a:prstGeom>
          <a:ln w="6350">
            <a:solidFill>
              <a:srgbClr val="BDD7EE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" name="Lige forbindelse 97">
            <a:extLst>
              <a:ext uri="{FF2B5EF4-FFF2-40B4-BE49-F238E27FC236}">
                <a16:creationId xmlns:a16="http://schemas.microsoft.com/office/drawing/2014/main" id="{765C5D01-48E8-57FC-30B8-A50B64A1652A}"/>
              </a:ext>
            </a:extLst>
          </p:cNvPr>
          <p:cNvCxnSpPr>
            <a:cxnSpLocks/>
          </p:cNvCxnSpPr>
          <p:nvPr/>
        </p:nvCxnSpPr>
        <p:spPr>
          <a:xfrm flipH="1">
            <a:off x="4338158" y="8469947"/>
            <a:ext cx="2232505" cy="0"/>
          </a:xfrm>
          <a:prstGeom prst="line">
            <a:avLst/>
          </a:prstGeom>
          <a:ln w="6350">
            <a:solidFill>
              <a:srgbClr val="BDD7EE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3" name="Lige forbindelse 123">
            <a:extLst>
              <a:ext uri="{FF2B5EF4-FFF2-40B4-BE49-F238E27FC236}">
                <a16:creationId xmlns:a16="http://schemas.microsoft.com/office/drawing/2014/main" id="{FABE9B94-5CE4-E632-BED0-024B586E09A7}"/>
              </a:ext>
            </a:extLst>
          </p:cNvPr>
          <p:cNvCxnSpPr>
            <a:cxnSpLocks/>
          </p:cNvCxnSpPr>
          <p:nvPr/>
        </p:nvCxnSpPr>
        <p:spPr>
          <a:xfrm flipV="1">
            <a:off x="5458564" y="7618094"/>
            <a:ext cx="0" cy="1703706"/>
          </a:xfrm>
          <a:prstGeom prst="line">
            <a:avLst/>
          </a:prstGeom>
          <a:ln w="6350">
            <a:solidFill>
              <a:srgbClr val="BDD7EE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5995365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JaJwpFytX3WK3giBJgaww"/>
</p:tagLst>
</file>

<file path=ppt/theme/theme1.xml><?xml version="1.0" encoding="utf-8"?>
<a:theme xmlns:a="http://schemas.openxmlformats.org/drawingml/2006/main" name="Office-tema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ED0000"/>
      </a:accent1>
      <a:accent2>
        <a:srgbClr val="000000"/>
      </a:accent2>
      <a:accent3>
        <a:srgbClr val="BFBFBF"/>
      </a:accent3>
      <a:accent4>
        <a:srgbClr val="80808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Custom 54">
      <a:majorFont>
        <a:latin typeface="Innovation Norway Semibold"/>
        <a:ea typeface=""/>
        <a:cs typeface=""/>
      </a:majorFont>
      <a:minorFont>
        <a:latin typeface="Innovation Norway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200">
            <a:latin typeface="Innovation Norway" panose="020B050003000000000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Presentation1" id="{5F24726B-FCD9-2546-95D2-0838BC384E92}" vid="{71DA46E9-32DF-1441-884E-97C84DF85785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438" row="6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BF5FBEA9-8258-438F-B978-F8718618C9AB}">
  <we:reference id="a761e866-31f6-4676-9a6c-095a3a900831" version="1.0.0.7" store="EXCatalog" storeType="EXCatalog"/>
  <we:alternateReferences>
    <we:reference id="WA200001625" version="1.0.0.7" store="da-DK" storeType="OMEX"/>
  </we:alternateReferences>
  <we:properties>
    <we:property name="Office.AutoShowTaskpaneWithDocument" value="false"/>
  </we:properties>
  <we:bindings/>
  <we:snapshot xmlns:r="http://schemas.openxmlformats.org/officeDocument/2006/relationships"/>
</we:webextension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6DC2CF80B46A934B8FE53311E19158B0" ma:contentTypeVersion="18" ma:contentTypeDescription="Create a new document." ma:contentTypeScope="" ma:versionID="0c09215764b41eb931c0606551aafad0">
  <xsd:schema xmlns:xsd="http://www.w3.org/2001/XMLSchema" xmlns:xs="http://www.w3.org/2001/XMLSchema" xmlns:p="http://schemas.microsoft.com/office/2006/metadata/properties" xmlns:ns1="http://schemas.microsoft.com/sharepoint/v3" xmlns:ns2="804c8aa0-e304-482d-b010-84cad467d4fa" xmlns:ns3="a2918203-4dc9-4fa6-b2e7-da6718068ddf" targetNamespace="http://schemas.microsoft.com/office/2006/metadata/properties" ma:root="true" ma:fieldsID="a833441247a97d31261da22c9759094c" ns1:_="" ns2:_="" ns3:_="">
    <xsd:import namespace="http://schemas.microsoft.com/sharepoint/v3"/>
    <xsd:import namespace="804c8aa0-e304-482d-b010-84cad467d4fa"/>
    <xsd:import namespace="a2918203-4dc9-4fa6-b2e7-da6718068ddf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GenerationTime" minOccurs="0"/>
                <xsd:element ref="ns2:MediaServiceEventHashCode" minOccurs="0"/>
                <xsd:element ref="ns2:_Flow_SignoffStatus" minOccurs="0"/>
                <xsd:element ref="ns2:MediaLengthInSeconds" minOccurs="0"/>
                <xsd:element ref="ns2:MediaServiceOCR" minOccurs="0"/>
                <xsd:element ref="ns2:MediaServiceLocation" minOccurs="0"/>
                <xsd:element ref="ns2:MediaServiceObjectDetectorVersions" minOccurs="0"/>
                <xsd:element ref="ns2:MediaServiceSearchProperties" minOccurs="0"/>
                <xsd:element ref="ns1:_ip_UnifiedCompliancePolicyProperties" minOccurs="0"/>
                <xsd:element ref="ns1:_ip_UnifiedCompliancePolicyUIAc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_ip_UnifiedCompliancePolicyProperties" ma:index="24" nillable="true" ma:displayName="Unified Compliance Policy Properties" ma:hidden="true" ma:internalName="_ip_UnifiedCompliancePolicyProperties">
      <xsd:simpleType>
        <xsd:restriction base="dms:Note"/>
      </xsd:simpleType>
    </xsd:element>
    <xsd:element name="_ip_UnifiedCompliancePolicyUIAction" ma:index="25" nillable="true" ma:displayName="Unified Compliance Policy UI Action" ma:hidden="true" ma:internalName="_ip_UnifiedCompliancePolicyUIAction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04c8aa0-e304-482d-b010-84cad467d4f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3" nillable="true" ma:taxonomy="true" ma:internalName="lcf76f155ced4ddcb4097134ff3c332f" ma:taxonomyFieldName="MediaServiceImageTags" ma:displayName="Image Tags" ma:readOnly="false" ma:fieldId="{5cf76f15-5ced-4ddc-b409-7134ff3c332f}" ma:taxonomyMulti="true" ma:sspId="27841eaf-21cb-4d22-9996-c50b7ffd161f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5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_Flow_SignoffStatus" ma:index="18" nillable="true" ma:displayName="Sign-off status" ma:internalName="Sign_x002d_off_x0020_status">
      <xsd:simpleType>
        <xsd:restriction base="dms:Text"/>
      </xsd:simpleType>
    </xsd:element>
    <xsd:element name="MediaLengthInSeconds" ma:index="19" nillable="true" ma:displayName="MediaLengthInSeconds" ma:hidden="true" ma:internalName="MediaLengthInSeconds" ma:readOnly="true">
      <xsd:simpleType>
        <xsd:restriction base="dms:Unknown"/>
      </xsd:simpleType>
    </xsd:element>
    <xsd:element name="MediaServiceOCR" ma:index="20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Location" ma:index="21" nillable="true" ma:displayName="Location" ma:indexed="true" ma:internalName="MediaServiceLocation" ma:readOnly="true">
      <xsd:simpleType>
        <xsd:restriction base="dms:Text"/>
      </xsd:simpleType>
    </xsd:element>
    <xsd:element name="MediaServiceObjectDetectorVersions" ma:index="22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3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2918203-4dc9-4fa6-b2e7-da6718068ddf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4" nillable="true" ma:displayName="Taxonomy Catch All Column" ma:hidden="true" ma:list="{8668a103-6180-4da6-8eda-ae690cd9b89c}" ma:internalName="TaxCatchAll" ma:showField="CatchAllData" ma:web="a2918203-4dc9-4fa6-b2e7-da6718068ddf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Flow_SignoffStatus xmlns="804c8aa0-e304-482d-b010-84cad467d4fa" xsi:nil="true"/>
    <lcf76f155ced4ddcb4097134ff3c332f xmlns="804c8aa0-e304-482d-b010-84cad467d4fa">
      <Terms xmlns="http://schemas.microsoft.com/office/infopath/2007/PartnerControls"/>
    </lcf76f155ced4ddcb4097134ff3c332f>
    <TaxCatchAll xmlns="a2918203-4dc9-4fa6-b2e7-da6718068ddf" xsi:nil="true"/>
    <SharedWithUsers xmlns="a2918203-4dc9-4fa6-b2e7-da6718068ddf">
      <UserInfo>
        <DisplayName>Marc Egholm Mougaard</DisplayName>
        <AccountId>19</AccountId>
        <AccountType/>
      </UserInfo>
      <UserInfo>
        <DisplayName>Ria Langbehn Jensen</DisplayName>
        <AccountId>1228</AccountId>
        <AccountType/>
      </UserInfo>
      <UserInfo>
        <DisplayName>Sanne Nissen Møller</DisplayName>
        <AccountId>141</AccountId>
        <AccountType/>
      </UserInfo>
      <UserInfo>
        <DisplayName>Kasper Holm Wejse</DisplayName>
        <AccountId>175</AccountId>
        <AccountType/>
      </UserInfo>
      <UserInfo>
        <DisplayName>Professional Service</DisplayName>
        <AccountId>1075</AccountId>
        <AccountType/>
      </UserInfo>
      <UserInfo>
        <DisplayName>Margrethe Helgebostad</DisplayName>
        <AccountId>200</AccountId>
        <AccountType/>
      </UserInfo>
    </SharedWithUsers>
    <_ip_UnifiedCompliancePolicyUIAction xmlns="http://schemas.microsoft.com/sharepoint/v3" xsi:nil="true"/>
    <_ip_UnifiedCompliancePolicyProperties xmlns="http://schemas.microsoft.com/sharepoint/v3" xsi:nil="true"/>
  </documentManagement>
</p:properties>
</file>

<file path=customXml/itemProps1.xml><?xml version="1.0" encoding="utf-8"?>
<ds:datastoreItem xmlns:ds="http://schemas.openxmlformats.org/officeDocument/2006/customXml" ds:itemID="{021C1574-1027-45A4-A171-90F393E081D6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804c8aa0-e304-482d-b010-84cad467d4fa"/>
    <ds:schemaRef ds:uri="a2918203-4dc9-4fa6-b2e7-da6718068ddf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0186A782-74DD-4165-A76E-BB470D431542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E27DC84F-C3E7-4399-BF8D-1B3FDB7574D9}">
  <ds:schemaRefs>
    <ds:schemaRef ds:uri="http://schemas.microsoft.com/office/2006/metadata/properties"/>
    <ds:schemaRef ds:uri="http://schemas.microsoft.com/office/infopath/2007/PartnerControls"/>
    <ds:schemaRef ds:uri="http://schemas.microsoft.com/sharepoint/v3"/>
    <ds:schemaRef ds:uri="http://purl.org/dc/elements/1.1/"/>
    <ds:schemaRef ds:uri="a2918203-4dc9-4fa6-b2e7-da6718068ddf"/>
    <ds:schemaRef ds:uri="http://schemas.openxmlformats.org/package/2006/metadata/core-properties"/>
    <ds:schemaRef ds:uri="http://schemas.microsoft.com/office/2006/documentManagement/types"/>
    <ds:schemaRef ds:uri="http://purl.org/dc/terms/"/>
    <ds:schemaRef ds:uri="http://purl.org/dc/dcmitype/"/>
    <ds:schemaRef ds:uri="804c8aa0-e304-482d-b010-84cad467d4fa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IN PowerPoint-mal bokmål (Mars 2023)</Template>
  <TotalTime>0</TotalTime>
  <Words>320</Words>
  <Application>Microsoft Office PowerPoint</Application>
  <PresentationFormat>A4 (210 x 297 mm)</PresentationFormat>
  <Paragraphs>43</Paragraphs>
  <Slides>1</Slides>
  <Notes>1</Notes>
  <HiddenSlides>0</HiddenSlides>
  <MMClips>0</MMClips>
  <ScaleCrop>false</ScaleCrop>
  <HeadingPairs>
    <vt:vector size="8" baseType="variant">
      <vt:variant>
        <vt:lpstr>Brukte skrifter</vt:lpstr>
      </vt:variant>
      <vt:variant>
        <vt:i4>5</vt:i4>
      </vt:variant>
      <vt:variant>
        <vt:lpstr>Tema</vt:lpstr>
      </vt:variant>
      <vt:variant>
        <vt:i4>1</vt:i4>
      </vt:variant>
      <vt:variant>
        <vt:lpstr>Innebygde OLE-servere</vt:lpstr>
      </vt:variant>
      <vt:variant>
        <vt:i4>1</vt:i4>
      </vt:variant>
      <vt:variant>
        <vt:lpstr>Lysbildetitler</vt:lpstr>
      </vt:variant>
      <vt:variant>
        <vt:i4>1</vt:i4>
      </vt:variant>
    </vt:vector>
  </HeadingPairs>
  <TitlesOfParts>
    <vt:vector size="8" baseType="lpstr">
      <vt:lpstr>Aptos</vt:lpstr>
      <vt:lpstr>Arial</vt:lpstr>
      <vt:lpstr>Calibri</vt:lpstr>
      <vt:lpstr>Innovation Norway</vt:lpstr>
      <vt:lpstr>Innovation Norway Semibold</vt:lpstr>
      <vt:lpstr>Office-tema</vt:lpstr>
      <vt:lpstr>think-cell Slide</vt:lpstr>
      <vt:lpstr>Danmarks markedsprofil</vt:lpstr>
    </vt:vector>
  </TitlesOfParts>
  <Company>Innovation Norway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nnovasjon Norge</dc:title>
  <dc:creator>Margrethe Helgebostad</dc:creator>
  <cp:lastModifiedBy>Margrethe Helgebostad</cp:lastModifiedBy>
  <cp:revision>2</cp:revision>
  <dcterms:created xsi:type="dcterms:W3CDTF">2023-03-22T13:38:36Z</dcterms:created>
  <dcterms:modified xsi:type="dcterms:W3CDTF">2025-03-13T17:16:4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bcba7332-1be0-430e-aa19-ed0aa2128bff_Enabled">
    <vt:lpwstr>true</vt:lpwstr>
  </property>
  <property fmtid="{D5CDD505-2E9C-101B-9397-08002B2CF9AE}" pid="3" name="MSIP_Label_bcba7332-1be0-430e-aa19-ed0aa2128bff_ActionId">
    <vt:lpwstr>08b4fe27-ab99-4d9a-b15a-4223db8d5d86</vt:lpwstr>
  </property>
  <property fmtid="{D5CDD505-2E9C-101B-9397-08002B2CF9AE}" pid="4" name="MSIP_Label_bcba7332-1be0-430e-aa19-ed0aa2128bff_ContentBits">
    <vt:lpwstr>0</vt:lpwstr>
  </property>
  <property fmtid="{D5CDD505-2E9C-101B-9397-08002B2CF9AE}" pid="5" name="MSIP_Label_bcba7332-1be0-430e-aa19-ed0aa2128bff_SiteId">
    <vt:lpwstr>c39d49f7-9eed-4307-b032-bb28f3cf9d79</vt:lpwstr>
  </property>
  <property fmtid="{D5CDD505-2E9C-101B-9397-08002B2CF9AE}" pid="6" name="MSIP_Label_bcba7332-1be0-430e-aa19-ed0aa2128bff_Method">
    <vt:lpwstr>Standard</vt:lpwstr>
  </property>
  <property fmtid="{D5CDD505-2E9C-101B-9397-08002B2CF9AE}" pid="7" name="MSIP_Label_bcba7332-1be0-430e-aa19-ed0aa2128bff_SetDate">
    <vt:lpwstr>2022-11-02T11:36:31Z</vt:lpwstr>
  </property>
  <property fmtid="{D5CDD505-2E9C-101B-9397-08002B2CF9AE}" pid="8" name="MSIP_Label_bcba7332-1be0-430e-aa19-ed0aa2128bff_Name">
    <vt:lpwstr>Internal</vt:lpwstr>
  </property>
  <property fmtid="{D5CDD505-2E9C-101B-9397-08002B2CF9AE}" pid="9" name="ContentTypeId">
    <vt:lpwstr>0x0101006DC2CF80B46A934B8FE53311E19158B0</vt:lpwstr>
  </property>
  <property fmtid="{D5CDD505-2E9C-101B-9397-08002B2CF9AE}" pid="10" name="MediaServiceImageTags">
    <vt:lpwstr/>
  </property>
</Properties>
</file>